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0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  <p:sldMasterId id="2147483674" r:id="rId3"/>
    <p:sldMasterId id="2147483687" r:id="rId4"/>
    <p:sldMasterId id="2147483700" r:id="rId5"/>
    <p:sldMasterId id="2147483713" r:id="rId6"/>
    <p:sldMasterId id="2147483726" r:id="rId7"/>
    <p:sldMasterId id="2147483739" r:id="rId8"/>
    <p:sldMasterId id="2147483752" r:id="rId9"/>
    <p:sldMasterId id="2147483765" r:id="rId10"/>
    <p:sldMasterId id="2147483778" r:id="rId11"/>
  </p:sldMasterIdLst>
  <p:notesMasterIdLst>
    <p:notesMasterId r:id="rId66"/>
  </p:notesMasterIdLst>
  <p:sldIdLst>
    <p:sldId id="256" r:id="rId12"/>
    <p:sldId id="355" r:id="rId13"/>
    <p:sldId id="258" r:id="rId14"/>
    <p:sldId id="257" r:id="rId15"/>
    <p:sldId id="259" r:id="rId16"/>
    <p:sldId id="261" r:id="rId17"/>
    <p:sldId id="262" r:id="rId18"/>
    <p:sldId id="263" r:id="rId19"/>
    <p:sldId id="264" r:id="rId20"/>
    <p:sldId id="265" r:id="rId21"/>
    <p:sldId id="266" r:id="rId22"/>
    <p:sldId id="267" r:id="rId23"/>
    <p:sldId id="356" r:id="rId24"/>
    <p:sldId id="268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285" r:id="rId33"/>
    <p:sldId id="286" r:id="rId34"/>
    <p:sldId id="289" r:id="rId35"/>
    <p:sldId id="290" r:id="rId36"/>
    <p:sldId id="291" r:id="rId37"/>
    <p:sldId id="292" r:id="rId38"/>
    <p:sldId id="293" r:id="rId39"/>
    <p:sldId id="296" r:id="rId40"/>
    <p:sldId id="297" r:id="rId41"/>
    <p:sldId id="302" r:id="rId42"/>
    <p:sldId id="303" r:id="rId43"/>
    <p:sldId id="305" r:id="rId44"/>
    <p:sldId id="306" r:id="rId45"/>
    <p:sldId id="309" r:id="rId46"/>
    <p:sldId id="314" r:id="rId47"/>
    <p:sldId id="316" r:id="rId48"/>
    <p:sldId id="317" r:id="rId49"/>
    <p:sldId id="318" r:id="rId50"/>
    <p:sldId id="319" r:id="rId51"/>
    <p:sldId id="324" r:id="rId52"/>
    <p:sldId id="326" r:id="rId53"/>
    <p:sldId id="327" r:id="rId54"/>
    <p:sldId id="329" r:id="rId55"/>
    <p:sldId id="330" r:id="rId56"/>
    <p:sldId id="331" r:id="rId57"/>
    <p:sldId id="332" r:id="rId58"/>
    <p:sldId id="333" r:id="rId59"/>
    <p:sldId id="334" r:id="rId60"/>
    <p:sldId id="335" r:id="rId61"/>
    <p:sldId id="342" r:id="rId62"/>
    <p:sldId id="344" r:id="rId63"/>
    <p:sldId id="347" r:id="rId64"/>
    <p:sldId id="353" r:id="rId65"/>
  </p:sldIdLst>
  <p:sldSz cx="9144000" cy="5143500" type="screen16x9"/>
  <p:notesSz cx="6797675" cy="992663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4" d="100"/>
          <a:sy n="84" d="100"/>
        </p:scale>
        <p:origin x="78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63" Type="http://schemas.openxmlformats.org/officeDocument/2006/relationships/slide" Target="slides/slide52.xml"/><Relationship Id="rId68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66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0.xml"/><Relationship Id="rId19" Type="http://schemas.openxmlformats.org/officeDocument/2006/relationships/slide" Target="slides/slide8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slide" Target="slides/slide53.xml"/><Relationship Id="rId69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0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slide" Target="slides/slide48.xml"/><Relationship Id="rId67" Type="http://schemas.openxmlformats.org/officeDocument/2006/relationships/presProps" Target="presProps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slide" Target="slides/slide51.xml"/><Relationship Id="rId7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slide" Target="slides/slide49.xml"/><Relationship Id="rId65" Type="http://schemas.openxmlformats.org/officeDocument/2006/relationships/slide" Target="slides/slide5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9" Type="http://schemas.openxmlformats.org/officeDocument/2006/relationships/slide" Target="slides/slide28.xml"/><Relationship Id="rId34" Type="http://schemas.openxmlformats.org/officeDocument/2006/relationships/slide" Target="slides/slide23.xml"/><Relationship Id="rId50" Type="http://schemas.openxmlformats.org/officeDocument/2006/relationships/slide" Target="slides/slide39.xml"/><Relationship Id="rId55" Type="http://schemas.openxmlformats.org/officeDocument/2006/relationships/slide" Target="slides/slide44.xml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A580641-A98E-4AB1-A909-BC3FFDC6CAB8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pt-BR"/>
        </a:p>
      </dgm:t>
    </dgm:pt>
    <dgm:pt modelId="{4C375F42-E248-42F7-8329-80C712A73998}">
      <dgm:prSet/>
      <dgm:spPr/>
      <dgm:t>
        <a:bodyPr/>
        <a:lstStyle/>
        <a:p>
          <a:r>
            <a:rPr lang="pt-BR" b="0" dirty="0"/>
            <a:t>Um projeto de sociedade</a:t>
          </a:r>
          <a:endParaRPr lang="pt-BR" dirty="0"/>
        </a:p>
      </dgm:t>
    </dgm:pt>
    <dgm:pt modelId="{E09FE4A5-7B6C-4E8A-9729-8F6427CAFF82}" type="parTrans" cxnId="{7AA7A8EE-7207-41BA-9F44-C514DBC26D02}">
      <dgm:prSet/>
      <dgm:spPr/>
      <dgm:t>
        <a:bodyPr/>
        <a:lstStyle/>
        <a:p>
          <a:endParaRPr lang="pt-BR"/>
        </a:p>
      </dgm:t>
    </dgm:pt>
    <dgm:pt modelId="{CB012C8C-D84A-429B-8894-C6315D36D371}" type="sibTrans" cxnId="{7AA7A8EE-7207-41BA-9F44-C514DBC26D02}">
      <dgm:prSet/>
      <dgm:spPr/>
      <dgm:t>
        <a:bodyPr/>
        <a:lstStyle/>
        <a:p>
          <a:endParaRPr lang="pt-BR"/>
        </a:p>
      </dgm:t>
    </dgm:pt>
    <dgm:pt modelId="{B7E578F1-AAA3-4CCC-94A2-C1CA9968C163}" type="pres">
      <dgm:prSet presAssocID="{9A580641-A98E-4AB1-A909-BC3FFDC6CAB8}" presName="compositeShape" presStyleCnt="0">
        <dgm:presLayoutVars>
          <dgm:chMax val="7"/>
          <dgm:dir/>
          <dgm:resizeHandles val="exact"/>
        </dgm:presLayoutVars>
      </dgm:prSet>
      <dgm:spPr/>
    </dgm:pt>
    <dgm:pt modelId="{153C2FB2-A972-4389-9CC3-3E5E41A2D076}" type="pres">
      <dgm:prSet presAssocID="{4C375F42-E248-42F7-8329-80C712A73998}" presName="circ1TxSh" presStyleLbl="vennNode1" presStyleIdx="0" presStyleCnt="1"/>
      <dgm:spPr/>
    </dgm:pt>
  </dgm:ptLst>
  <dgm:cxnLst>
    <dgm:cxn modelId="{87B40B24-8A6B-46C8-80D5-DBAB2012D98A}" type="presOf" srcId="{4C375F42-E248-42F7-8329-80C712A73998}" destId="{153C2FB2-A972-4389-9CC3-3E5E41A2D076}" srcOrd="0" destOrd="0" presId="urn:microsoft.com/office/officeart/2005/8/layout/venn1"/>
    <dgm:cxn modelId="{00C50C3B-DCF1-43FA-9D51-35301814835D}" type="presOf" srcId="{9A580641-A98E-4AB1-A909-BC3FFDC6CAB8}" destId="{B7E578F1-AAA3-4CCC-94A2-C1CA9968C163}" srcOrd="0" destOrd="0" presId="urn:microsoft.com/office/officeart/2005/8/layout/venn1"/>
    <dgm:cxn modelId="{7AA7A8EE-7207-41BA-9F44-C514DBC26D02}" srcId="{9A580641-A98E-4AB1-A909-BC3FFDC6CAB8}" destId="{4C375F42-E248-42F7-8329-80C712A73998}" srcOrd="0" destOrd="0" parTransId="{E09FE4A5-7B6C-4E8A-9729-8F6427CAFF82}" sibTransId="{CB012C8C-D84A-429B-8894-C6315D36D371}"/>
    <dgm:cxn modelId="{6AA983F6-C3FC-4828-B12F-BB7E02DE6AEE}" type="presParOf" srcId="{B7E578F1-AAA3-4CCC-94A2-C1CA9968C163}" destId="{153C2FB2-A972-4389-9CC3-3E5E41A2D076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9470C2F-891F-45BC-9E52-52DB69979384}" type="doc">
      <dgm:prSet loTypeId="urn:microsoft.com/office/officeart/2008/layout/AscendingPictureAccentProcess" loCatId="process" qsTypeId="urn:microsoft.com/office/officeart/2005/8/quickstyle/simple1" qsCatId="simple" csTypeId="urn:microsoft.com/office/officeart/2005/8/colors/accent1_2" csCatId="accent1" phldr="1"/>
      <dgm:spPr/>
    </dgm:pt>
    <dgm:pt modelId="{A8CB8B2E-4216-4438-9FBE-BD6380B2587C}">
      <dgm:prSet phldrT="[Texto]" custT="1"/>
      <dgm:spPr/>
      <dgm:t>
        <a:bodyPr/>
        <a:lstStyle/>
        <a:p>
          <a:r>
            <a:rPr lang="pt-BR" sz="500" dirty="0"/>
            <a:t>                            </a:t>
          </a:r>
          <a:r>
            <a:rPr lang="pt-BR" sz="1500" dirty="0"/>
            <a:t>  UM PROJETO DE VIDA </a:t>
          </a:r>
        </a:p>
        <a:p>
          <a:endParaRPr lang="pt-BR" sz="500" dirty="0"/>
        </a:p>
      </dgm:t>
    </dgm:pt>
    <dgm:pt modelId="{D94646F5-B04D-4D97-A321-EA91923A490E}" type="parTrans" cxnId="{AAAED82E-A101-4277-8E95-D5F84E123313}">
      <dgm:prSet/>
      <dgm:spPr/>
      <dgm:t>
        <a:bodyPr/>
        <a:lstStyle/>
        <a:p>
          <a:endParaRPr lang="pt-BR"/>
        </a:p>
      </dgm:t>
    </dgm:pt>
    <dgm:pt modelId="{8B99242F-E88C-4E90-A2F0-4894407C1E49}" type="sibTrans" cxnId="{AAAED82E-A101-4277-8E95-D5F84E123313}">
      <dgm:prSet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2000" r="-22000"/>
          </a:stretch>
        </a:blipFill>
      </dgm:spPr>
      <dgm:t>
        <a:bodyPr/>
        <a:lstStyle/>
        <a:p>
          <a:endParaRPr lang="pt-BR"/>
        </a:p>
      </dgm:t>
    </dgm:pt>
    <dgm:pt modelId="{2AFA5CC2-52AE-41CA-A667-CA1C002234E4}" type="pres">
      <dgm:prSet presAssocID="{C9470C2F-891F-45BC-9E52-52DB69979384}" presName="Name0" presStyleCnt="0">
        <dgm:presLayoutVars>
          <dgm:chMax val="7"/>
          <dgm:chPref val="7"/>
          <dgm:dir/>
        </dgm:presLayoutVars>
      </dgm:prSet>
      <dgm:spPr/>
    </dgm:pt>
    <dgm:pt modelId="{062B783D-7599-4BC8-BAD5-545BB9FAB691}" type="pres">
      <dgm:prSet presAssocID="{A8CB8B2E-4216-4438-9FBE-BD6380B2587C}" presName="parTx1" presStyleLbl="node1" presStyleIdx="0" presStyleCnt="1" custScaleX="139101"/>
      <dgm:spPr/>
    </dgm:pt>
    <dgm:pt modelId="{3EA37163-3E41-4EE7-8DB5-10BD81A44E72}" type="pres">
      <dgm:prSet presAssocID="{8B99242F-E88C-4E90-A2F0-4894407C1E49}" presName="picture1" presStyleCnt="0"/>
      <dgm:spPr/>
    </dgm:pt>
    <dgm:pt modelId="{AF560AF9-3116-48DF-A35A-A19F215B3CCA}" type="pres">
      <dgm:prSet presAssocID="{8B99242F-E88C-4E90-A2F0-4894407C1E49}" presName="imageRepeatNode" presStyleLbl="fgImgPlace1" presStyleIdx="0" presStyleCnt="1"/>
      <dgm:spPr/>
    </dgm:pt>
  </dgm:ptLst>
  <dgm:cxnLst>
    <dgm:cxn modelId="{D41C7404-C22E-4290-B010-CAF599528AE2}" type="presOf" srcId="{C9470C2F-891F-45BC-9E52-52DB69979384}" destId="{2AFA5CC2-52AE-41CA-A667-CA1C002234E4}" srcOrd="0" destOrd="0" presId="urn:microsoft.com/office/officeart/2008/layout/AscendingPictureAccentProcess"/>
    <dgm:cxn modelId="{AAAED82E-A101-4277-8E95-D5F84E123313}" srcId="{C9470C2F-891F-45BC-9E52-52DB69979384}" destId="{A8CB8B2E-4216-4438-9FBE-BD6380B2587C}" srcOrd="0" destOrd="0" parTransId="{D94646F5-B04D-4D97-A321-EA91923A490E}" sibTransId="{8B99242F-E88C-4E90-A2F0-4894407C1E49}"/>
    <dgm:cxn modelId="{7A3CA3BF-564A-46A6-9A2F-1156EC1B75A8}" type="presOf" srcId="{A8CB8B2E-4216-4438-9FBE-BD6380B2587C}" destId="{062B783D-7599-4BC8-BAD5-545BB9FAB691}" srcOrd="0" destOrd="0" presId="urn:microsoft.com/office/officeart/2008/layout/AscendingPictureAccentProcess"/>
    <dgm:cxn modelId="{759FA1D5-9DAF-48C6-B1B6-8FDA4F43C87E}" type="presOf" srcId="{8B99242F-E88C-4E90-A2F0-4894407C1E49}" destId="{AF560AF9-3116-48DF-A35A-A19F215B3CCA}" srcOrd="0" destOrd="0" presId="urn:microsoft.com/office/officeart/2008/layout/AscendingPictureAccentProcess"/>
    <dgm:cxn modelId="{A293050F-A3F8-4940-A270-D003DD7F1123}" type="presParOf" srcId="{2AFA5CC2-52AE-41CA-A667-CA1C002234E4}" destId="{062B783D-7599-4BC8-BAD5-545BB9FAB691}" srcOrd="0" destOrd="0" presId="urn:microsoft.com/office/officeart/2008/layout/AscendingPictureAccentProcess"/>
    <dgm:cxn modelId="{06318046-0C37-44D5-81DE-BC70AA1C578E}" type="presParOf" srcId="{2AFA5CC2-52AE-41CA-A667-CA1C002234E4}" destId="{3EA37163-3E41-4EE7-8DB5-10BD81A44E72}" srcOrd="1" destOrd="0" presId="urn:microsoft.com/office/officeart/2008/layout/AscendingPictureAccentProcess"/>
    <dgm:cxn modelId="{E10F66F3-7C50-4432-B75C-3AC5EC62A0FA}" type="presParOf" srcId="{3EA37163-3E41-4EE7-8DB5-10BD81A44E72}" destId="{AF560AF9-3116-48DF-A35A-A19F215B3CCA}" srcOrd="0" destOrd="0" presId="urn:microsoft.com/office/officeart/2008/layout/AscendingPictureAccent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3C2FB2-A972-4389-9CC3-3E5E41A2D076}">
      <dsp:nvSpPr>
        <dsp:cNvPr id="0" name=""/>
        <dsp:cNvSpPr/>
      </dsp:nvSpPr>
      <dsp:spPr>
        <a:xfrm>
          <a:off x="944100" y="0"/>
          <a:ext cx="1372680" cy="137268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b="0" kern="1200" dirty="0"/>
            <a:t>Um projeto de sociedade</a:t>
          </a:r>
          <a:endParaRPr lang="pt-BR" sz="1600" kern="1200" dirty="0"/>
        </a:p>
      </dsp:txBody>
      <dsp:txXfrm>
        <a:off x="1145124" y="201024"/>
        <a:ext cx="970632" cy="97063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2B783D-7599-4BC8-BAD5-545BB9FAB691}">
      <dsp:nvSpPr>
        <dsp:cNvPr id="0" name=""/>
        <dsp:cNvSpPr/>
      </dsp:nvSpPr>
      <dsp:spPr>
        <a:xfrm>
          <a:off x="95876" y="1473450"/>
          <a:ext cx="3260870" cy="62869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6199" tIns="19050" rIns="19050" bIns="19050" numCol="1" spcCol="1270" anchor="ctr" anchorCtr="0">
          <a:noAutofit/>
        </a:bodyPr>
        <a:lstStyle/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500" kern="1200" dirty="0"/>
            <a:t>                            </a:t>
          </a:r>
          <a:r>
            <a:rPr lang="pt-BR" sz="1500" kern="1200" dirty="0"/>
            <a:t>  UM PROJETO DE VIDA </a:t>
          </a:r>
        </a:p>
        <a:p>
          <a:pPr marL="0" lvl="0" indent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500" kern="1200" dirty="0"/>
        </a:p>
      </dsp:txBody>
      <dsp:txXfrm>
        <a:off x="126566" y="1504140"/>
        <a:ext cx="3199490" cy="567317"/>
      </dsp:txXfrm>
    </dsp:sp>
    <dsp:sp modelId="{AF560AF9-3116-48DF-A35A-A19F215B3CCA}">
      <dsp:nvSpPr>
        <dsp:cNvPr id="0" name=""/>
        <dsp:cNvSpPr/>
      </dsp:nvSpPr>
      <dsp:spPr>
        <a:xfrm>
          <a:off x="-95867" y="857225"/>
          <a:ext cx="1086851" cy="1087014"/>
        </a:xfrm>
        <a:prstGeom prst="ellipse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2000" r="-2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Clique para mover o slide</a:t>
            </a:r>
          </a:p>
        </p:txBody>
      </p:sp>
      <p:sp>
        <p:nvSpPr>
          <p:cNvPr id="550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pt-BR" sz="2000" b="0" strike="noStrike" spc="-1">
                <a:latin typeface="Arial"/>
              </a:rPr>
              <a:t>Clique para editar o formato de notas</a:t>
            </a:r>
          </a:p>
        </p:txBody>
      </p:sp>
      <p:sp>
        <p:nvSpPr>
          <p:cNvPr id="551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pt-BR" sz="1400" b="0" strike="noStrike" spc="-1">
                <a:latin typeface="Times New Roman"/>
              </a:rPr>
              <a:t> </a:t>
            </a:r>
          </a:p>
        </p:txBody>
      </p:sp>
      <p:sp>
        <p:nvSpPr>
          <p:cNvPr id="552" name="PlaceHolder 4"/>
          <p:cNvSpPr>
            <a:spLocks noGrp="1"/>
          </p:cNvSpPr>
          <p:nvPr>
            <p:ph type="dt"/>
          </p:nvPr>
        </p:nvSpPr>
        <p:spPr>
          <a:xfrm>
            <a:off x="4278960" y="0"/>
            <a:ext cx="3280680" cy="53424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algn="r"/>
            <a:r>
              <a:rPr lang="pt-BR" sz="1400" b="0" strike="noStrike" spc="-1">
                <a:latin typeface="Times New Roman"/>
              </a:rPr>
              <a:t> </a:t>
            </a:r>
          </a:p>
        </p:txBody>
      </p:sp>
      <p:sp>
        <p:nvSpPr>
          <p:cNvPr id="553" name="PlaceHolder 5"/>
          <p:cNvSpPr>
            <a:spLocks noGrp="1"/>
          </p:cNvSpPr>
          <p:nvPr>
            <p:ph type="ftr"/>
          </p:nvPr>
        </p:nvSpPr>
        <p:spPr>
          <a:xfrm>
            <a:off x="0" y="10157400"/>
            <a:ext cx="3280680" cy="5342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/>
          <a:p>
            <a:r>
              <a:rPr lang="pt-BR" sz="1400" b="0" strike="noStrike" spc="-1">
                <a:latin typeface="Times New Roman"/>
              </a:rPr>
              <a:t> </a:t>
            </a:r>
          </a:p>
        </p:txBody>
      </p:sp>
      <p:sp>
        <p:nvSpPr>
          <p:cNvPr id="554" name="PlaceHolder 6"/>
          <p:cNvSpPr>
            <a:spLocks noGrp="1"/>
          </p:cNvSpPr>
          <p:nvPr>
            <p:ph type="sldNum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/>
          <a:p>
            <a:pPr algn="r"/>
            <a:fld id="{AD18979A-9694-4D77-9D00-E9985BF2D844}" type="slidenum">
              <a:rPr lang="pt-BR" sz="1400" b="0" strike="noStrike" spc="-1">
                <a:latin typeface="Times New Roman"/>
              </a:rPr>
              <a:t>‹nº›</a:t>
            </a:fld>
            <a:endParaRPr lang="pt-BR" sz="1400" b="0" strike="noStrike" spc="-1">
              <a:latin typeface="Times New Roman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AD18979A-9694-4D77-9D00-E9985BF2D844}" type="slidenum">
              <a:rPr lang="pt-BR" sz="1400" b="0" strike="noStrike" spc="-1" smtClean="0">
                <a:latin typeface="Times New Roman"/>
              </a:rPr>
              <a:t>3</a:t>
            </a:fld>
            <a:endParaRPr lang="pt-BR" sz="14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105058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AD18979A-9694-4D77-9D00-E9985BF2D844}" type="slidenum">
              <a:rPr lang="pt-BR" sz="1400" b="0" strike="noStrike" spc="-1" smtClean="0">
                <a:latin typeface="Times New Roman"/>
              </a:rPr>
              <a:t>4</a:t>
            </a:fld>
            <a:endParaRPr lang="pt-BR" sz="14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1103825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AD18979A-9694-4D77-9D00-E9985BF2D844}" type="slidenum">
              <a:rPr lang="pt-BR" sz="1400" b="0" strike="noStrike" spc="-1" smtClean="0">
                <a:latin typeface="Times New Roman"/>
              </a:rPr>
              <a:t>5</a:t>
            </a:fld>
            <a:endParaRPr lang="pt-BR" sz="14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3090759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AD18979A-9694-4D77-9D00-E9985BF2D844}" type="slidenum">
              <a:rPr lang="pt-BR" sz="1400" b="0" strike="noStrike" spc="-1" smtClean="0">
                <a:latin typeface="Times New Roman"/>
              </a:rPr>
              <a:t>6</a:t>
            </a:fld>
            <a:endParaRPr lang="pt-BR" sz="14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7446854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AD18979A-9694-4D77-9D00-E9985BF2D844}" type="slidenum">
              <a:rPr lang="pt-BR" sz="1400" b="0" strike="noStrike" spc="-1" smtClean="0">
                <a:latin typeface="Times New Roman"/>
              </a:rPr>
              <a:t>37</a:t>
            </a:fld>
            <a:endParaRPr lang="pt-BR" sz="14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8338620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PlaceHolder 3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8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" name="PlaceHolder 1"/>
          <p:cNvSpPr>
            <a:spLocks noGrp="1"/>
          </p:cNvSpPr>
          <p:nvPr>
            <p:ph type="subTitle"/>
          </p:nvPr>
        </p:nvSpPr>
        <p:spPr>
          <a:xfrm>
            <a:off x="1868040" y="1731600"/>
            <a:ext cx="5407920" cy="77893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2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3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4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6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7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8" name="PlaceHolder 4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0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1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2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4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5" name="PlaceHolder 3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8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9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0" name="PlaceHolder 5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2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3" name="PlaceHolder 3"/>
          <p:cNvSpPr>
            <a:spLocks noGrp="1"/>
          </p:cNvSpPr>
          <p:nvPr>
            <p:ph type="body"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4" name="PlaceHolder 4"/>
          <p:cNvSpPr>
            <a:spLocks noGrp="1"/>
          </p:cNvSpPr>
          <p:nvPr>
            <p:ph type="body"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5" name="PlaceHolder 5"/>
          <p:cNvSpPr>
            <a:spLocks noGrp="1"/>
          </p:cNvSpPr>
          <p:nvPr>
            <p:ph type="body"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6" name="PlaceHolder 6"/>
          <p:cNvSpPr>
            <a:spLocks noGrp="1"/>
          </p:cNvSpPr>
          <p:nvPr>
            <p:ph type="body"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7" name="PlaceHolder 7"/>
          <p:cNvSpPr>
            <a:spLocks noGrp="1"/>
          </p:cNvSpPr>
          <p:nvPr>
            <p:ph type="body"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PlaceHolder 5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2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4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6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7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PlaceHolder 1"/>
          <p:cNvSpPr>
            <a:spLocks noGrp="1"/>
          </p:cNvSpPr>
          <p:nvPr>
            <p:ph type="subTitle"/>
          </p:nvPr>
        </p:nvSpPr>
        <p:spPr>
          <a:xfrm>
            <a:off x="1868040" y="1731600"/>
            <a:ext cx="5407920" cy="77893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1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2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3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4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5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6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7" name="PlaceHolder 4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8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9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0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1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2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3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4" name="PlaceHolder 3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6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7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8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9" name="PlaceHolder 5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PlaceHolder 3"/>
          <p:cNvSpPr>
            <a:spLocks noGrp="1"/>
          </p:cNvSpPr>
          <p:nvPr>
            <p:ph type="body"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PlaceHolder 4"/>
          <p:cNvSpPr>
            <a:spLocks noGrp="1"/>
          </p:cNvSpPr>
          <p:nvPr>
            <p:ph type="body"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PlaceHolder 5"/>
          <p:cNvSpPr>
            <a:spLocks noGrp="1"/>
          </p:cNvSpPr>
          <p:nvPr>
            <p:ph type="body"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PlaceHolder 6"/>
          <p:cNvSpPr>
            <a:spLocks noGrp="1"/>
          </p:cNvSpPr>
          <p:nvPr>
            <p:ph type="body"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PlaceHolder 7"/>
          <p:cNvSpPr>
            <a:spLocks noGrp="1"/>
          </p:cNvSpPr>
          <p:nvPr>
            <p:ph type="body"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1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2" name="PlaceHolder 3"/>
          <p:cNvSpPr>
            <a:spLocks noGrp="1"/>
          </p:cNvSpPr>
          <p:nvPr>
            <p:ph type="body"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3" name="PlaceHolder 4"/>
          <p:cNvSpPr>
            <a:spLocks noGrp="1"/>
          </p:cNvSpPr>
          <p:nvPr>
            <p:ph type="body"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4" name="PlaceHolder 5"/>
          <p:cNvSpPr>
            <a:spLocks noGrp="1"/>
          </p:cNvSpPr>
          <p:nvPr>
            <p:ph type="body"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5" name="PlaceHolder 6"/>
          <p:cNvSpPr>
            <a:spLocks noGrp="1"/>
          </p:cNvSpPr>
          <p:nvPr>
            <p:ph type="body"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6" name="PlaceHolder 7"/>
          <p:cNvSpPr>
            <a:spLocks noGrp="1"/>
          </p:cNvSpPr>
          <p:nvPr>
            <p:ph type="body"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4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6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8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9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PlaceHolder 1"/>
          <p:cNvSpPr>
            <a:spLocks noGrp="1"/>
          </p:cNvSpPr>
          <p:nvPr>
            <p:ph type="subTitle"/>
          </p:nvPr>
        </p:nvSpPr>
        <p:spPr>
          <a:xfrm>
            <a:off x="1868040" y="1731600"/>
            <a:ext cx="5407920" cy="77893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3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4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5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6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8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9" name="PlaceHolder 4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1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2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3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4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5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6" name="PlaceHolder 3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8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9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0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1" name="PlaceHolder 5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3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4" name="PlaceHolder 3"/>
          <p:cNvSpPr>
            <a:spLocks noGrp="1"/>
          </p:cNvSpPr>
          <p:nvPr>
            <p:ph type="body"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5" name="PlaceHolder 4"/>
          <p:cNvSpPr>
            <a:spLocks noGrp="1"/>
          </p:cNvSpPr>
          <p:nvPr>
            <p:ph type="body"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6" name="PlaceHolder 5"/>
          <p:cNvSpPr>
            <a:spLocks noGrp="1"/>
          </p:cNvSpPr>
          <p:nvPr>
            <p:ph type="body"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7" name="PlaceHolder 6"/>
          <p:cNvSpPr>
            <a:spLocks noGrp="1"/>
          </p:cNvSpPr>
          <p:nvPr>
            <p:ph type="body"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8" name="PlaceHolder 7"/>
          <p:cNvSpPr>
            <a:spLocks noGrp="1"/>
          </p:cNvSpPr>
          <p:nvPr>
            <p:ph type="body"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PlaceHolder 1"/>
          <p:cNvSpPr>
            <a:spLocks noGrp="1"/>
          </p:cNvSpPr>
          <p:nvPr>
            <p:ph type="subTitle"/>
          </p:nvPr>
        </p:nvSpPr>
        <p:spPr>
          <a:xfrm>
            <a:off x="1868040" y="1731600"/>
            <a:ext cx="5407920" cy="77893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PlaceHolder 4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2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" name="PlaceHolder 3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8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9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0" name="PlaceHolder 5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2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3" name="PlaceHolder 3"/>
          <p:cNvSpPr>
            <a:spLocks noGrp="1"/>
          </p:cNvSpPr>
          <p:nvPr>
            <p:ph type="body"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4" name="PlaceHolder 4"/>
          <p:cNvSpPr>
            <a:spLocks noGrp="1"/>
          </p:cNvSpPr>
          <p:nvPr>
            <p:ph type="body"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5" name="PlaceHolder 5"/>
          <p:cNvSpPr>
            <a:spLocks noGrp="1"/>
          </p:cNvSpPr>
          <p:nvPr>
            <p:ph type="body"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6" name="PlaceHolder 6"/>
          <p:cNvSpPr>
            <a:spLocks noGrp="1"/>
          </p:cNvSpPr>
          <p:nvPr>
            <p:ph type="body"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7" name="PlaceHolder 7"/>
          <p:cNvSpPr>
            <a:spLocks noGrp="1"/>
          </p:cNvSpPr>
          <p:nvPr>
            <p:ph type="body"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3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5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8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PlaceHolder 1"/>
          <p:cNvSpPr>
            <a:spLocks noGrp="1"/>
          </p:cNvSpPr>
          <p:nvPr>
            <p:ph type="subTitle"/>
          </p:nvPr>
        </p:nvSpPr>
        <p:spPr>
          <a:xfrm>
            <a:off x="1868040" y="1731600"/>
            <a:ext cx="5407920" cy="77893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2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4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6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7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8" name="PlaceHolder 4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0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1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2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4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5" name="PlaceHolder 3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8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9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0" name="PlaceHolder 5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2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3" name="PlaceHolder 3"/>
          <p:cNvSpPr>
            <a:spLocks noGrp="1"/>
          </p:cNvSpPr>
          <p:nvPr>
            <p:ph type="body"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4" name="PlaceHolder 4"/>
          <p:cNvSpPr>
            <a:spLocks noGrp="1"/>
          </p:cNvSpPr>
          <p:nvPr>
            <p:ph type="body"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5" name="PlaceHolder 5"/>
          <p:cNvSpPr>
            <a:spLocks noGrp="1"/>
          </p:cNvSpPr>
          <p:nvPr>
            <p:ph type="body"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6" name="PlaceHolder 6"/>
          <p:cNvSpPr>
            <a:spLocks noGrp="1"/>
          </p:cNvSpPr>
          <p:nvPr>
            <p:ph type="body"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7" name="PlaceHolder 7"/>
          <p:cNvSpPr>
            <a:spLocks noGrp="1"/>
          </p:cNvSpPr>
          <p:nvPr>
            <p:ph type="body"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7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9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1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2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PlaceHolder 1"/>
          <p:cNvSpPr>
            <a:spLocks noGrp="1"/>
          </p:cNvSpPr>
          <p:nvPr>
            <p:ph type="subTitle"/>
          </p:nvPr>
        </p:nvSpPr>
        <p:spPr>
          <a:xfrm>
            <a:off x="1868040" y="1731600"/>
            <a:ext cx="5407920" cy="77893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6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7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8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0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1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2" name="PlaceHolder 4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4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5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6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8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9" name="PlaceHolder 3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1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2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3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4" name="PlaceHolder 5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6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7" name="PlaceHolder 3"/>
          <p:cNvSpPr>
            <a:spLocks noGrp="1"/>
          </p:cNvSpPr>
          <p:nvPr>
            <p:ph type="body"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8" name="PlaceHolder 4"/>
          <p:cNvSpPr>
            <a:spLocks noGrp="1"/>
          </p:cNvSpPr>
          <p:nvPr>
            <p:ph type="body"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9" name="PlaceHolder 5"/>
          <p:cNvSpPr>
            <a:spLocks noGrp="1"/>
          </p:cNvSpPr>
          <p:nvPr>
            <p:ph type="body"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0" name="PlaceHolder 6"/>
          <p:cNvSpPr>
            <a:spLocks noGrp="1"/>
          </p:cNvSpPr>
          <p:nvPr>
            <p:ph type="body"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1" name="PlaceHolder 7"/>
          <p:cNvSpPr>
            <a:spLocks noGrp="1"/>
          </p:cNvSpPr>
          <p:nvPr>
            <p:ph type="body"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8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0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2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3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PlaceHolder 1"/>
          <p:cNvSpPr>
            <a:spLocks noGrp="1"/>
          </p:cNvSpPr>
          <p:nvPr>
            <p:ph type="subTitle"/>
          </p:nvPr>
        </p:nvSpPr>
        <p:spPr>
          <a:xfrm>
            <a:off x="1868040" y="1731600"/>
            <a:ext cx="5407920" cy="77893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8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9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1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2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3" name="PlaceHolder 4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5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6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7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9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0" name="PlaceHolder 3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2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3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4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5" name="PlaceHolder 5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ceHolder 1"/>
          <p:cNvSpPr>
            <a:spLocks noGrp="1"/>
          </p:cNvSpPr>
          <p:nvPr>
            <p:ph type="subTitle"/>
          </p:nvPr>
        </p:nvSpPr>
        <p:spPr>
          <a:xfrm>
            <a:off x="1868040" y="1731600"/>
            <a:ext cx="5407920" cy="77893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8" name="PlaceHolder 3"/>
          <p:cNvSpPr>
            <a:spLocks noGrp="1"/>
          </p:cNvSpPr>
          <p:nvPr>
            <p:ph type="body"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9" name="PlaceHolder 4"/>
          <p:cNvSpPr>
            <a:spLocks noGrp="1"/>
          </p:cNvSpPr>
          <p:nvPr>
            <p:ph type="body"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0" name="PlaceHolder 5"/>
          <p:cNvSpPr>
            <a:spLocks noGrp="1"/>
          </p:cNvSpPr>
          <p:nvPr>
            <p:ph type="body"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1" name="PlaceHolder 6"/>
          <p:cNvSpPr>
            <a:spLocks noGrp="1"/>
          </p:cNvSpPr>
          <p:nvPr>
            <p:ph type="body"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2" name="PlaceHolder 7"/>
          <p:cNvSpPr>
            <a:spLocks noGrp="1"/>
          </p:cNvSpPr>
          <p:nvPr>
            <p:ph type="body"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6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8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0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1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PlaceHolder 1"/>
          <p:cNvSpPr>
            <a:spLocks noGrp="1"/>
          </p:cNvSpPr>
          <p:nvPr>
            <p:ph type="subTitle"/>
          </p:nvPr>
        </p:nvSpPr>
        <p:spPr>
          <a:xfrm>
            <a:off x="1868040" y="1731600"/>
            <a:ext cx="5407920" cy="77893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5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6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7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9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0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1" name="PlaceHolder 4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3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4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5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8" name="PlaceHolder 3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0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1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2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3" name="PlaceHolder 5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5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6" name="PlaceHolder 3"/>
          <p:cNvSpPr>
            <a:spLocks noGrp="1"/>
          </p:cNvSpPr>
          <p:nvPr>
            <p:ph type="body"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7" name="PlaceHolder 4"/>
          <p:cNvSpPr>
            <a:spLocks noGrp="1"/>
          </p:cNvSpPr>
          <p:nvPr>
            <p:ph type="body"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8" name="PlaceHolder 5"/>
          <p:cNvSpPr>
            <a:spLocks noGrp="1"/>
          </p:cNvSpPr>
          <p:nvPr>
            <p:ph type="body"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9" name="PlaceHolder 6"/>
          <p:cNvSpPr>
            <a:spLocks noGrp="1"/>
          </p:cNvSpPr>
          <p:nvPr>
            <p:ph type="body"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0" name="PlaceHolder 7"/>
          <p:cNvSpPr>
            <a:spLocks noGrp="1"/>
          </p:cNvSpPr>
          <p:nvPr>
            <p:ph type="body"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5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9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0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PlaceHolder 1"/>
          <p:cNvSpPr>
            <a:spLocks noGrp="1"/>
          </p:cNvSpPr>
          <p:nvPr>
            <p:ph type="subTitle"/>
          </p:nvPr>
        </p:nvSpPr>
        <p:spPr>
          <a:xfrm>
            <a:off x="1868040" y="1731600"/>
            <a:ext cx="5407920" cy="77893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4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5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6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PlaceHolder 4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8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9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0" name="PlaceHolder 4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2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3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4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6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7" name="PlaceHolder 3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9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0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1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2" name="PlaceHolder 5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4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5" name="PlaceHolder 3"/>
          <p:cNvSpPr>
            <a:spLocks noGrp="1"/>
          </p:cNvSpPr>
          <p:nvPr>
            <p:ph type="body"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6" name="PlaceHolder 4"/>
          <p:cNvSpPr>
            <a:spLocks noGrp="1"/>
          </p:cNvSpPr>
          <p:nvPr>
            <p:ph type="body"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7" name="PlaceHolder 5"/>
          <p:cNvSpPr>
            <a:spLocks noGrp="1"/>
          </p:cNvSpPr>
          <p:nvPr>
            <p:ph type="body"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8" name="PlaceHolder 6"/>
          <p:cNvSpPr>
            <a:spLocks noGrp="1"/>
          </p:cNvSpPr>
          <p:nvPr>
            <p:ph type="body"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9" name="PlaceHolder 7"/>
          <p:cNvSpPr>
            <a:spLocks noGrp="1"/>
          </p:cNvSpPr>
          <p:nvPr>
            <p:ph type="body"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3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4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6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7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8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9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PlaceHolder 1"/>
          <p:cNvSpPr>
            <a:spLocks noGrp="1"/>
          </p:cNvSpPr>
          <p:nvPr>
            <p:ph type="subTitle"/>
          </p:nvPr>
        </p:nvSpPr>
        <p:spPr>
          <a:xfrm>
            <a:off x="1868040" y="1731600"/>
            <a:ext cx="5407920" cy="77893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3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4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5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7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8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9" name="PlaceHolder 4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1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2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3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5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6" name="PlaceHolder 3"/>
          <p:cNvSpPr>
            <a:spLocks noGrp="1"/>
          </p:cNvSpPr>
          <p:nvPr>
            <p:ph type="body"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8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9" name="PlaceHolder 3"/>
          <p:cNvSpPr>
            <a:spLocks noGrp="1"/>
          </p:cNvSpPr>
          <p:nvPr>
            <p:ph type="body"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0" name="PlaceHolder 4"/>
          <p:cNvSpPr>
            <a:spLocks noGrp="1"/>
          </p:cNvSpPr>
          <p:nvPr>
            <p:ph type="body"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1" name="PlaceHolder 5"/>
          <p:cNvSpPr>
            <a:spLocks noGrp="1"/>
          </p:cNvSpPr>
          <p:nvPr>
            <p:ph type="body"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3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4" name="PlaceHolder 3"/>
          <p:cNvSpPr>
            <a:spLocks noGrp="1"/>
          </p:cNvSpPr>
          <p:nvPr>
            <p:ph type="body"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5" name="PlaceHolder 4"/>
          <p:cNvSpPr>
            <a:spLocks noGrp="1"/>
          </p:cNvSpPr>
          <p:nvPr>
            <p:ph type="body"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6" name="PlaceHolder 5"/>
          <p:cNvSpPr>
            <a:spLocks noGrp="1"/>
          </p:cNvSpPr>
          <p:nvPr>
            <p:ph type="body"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7" name="PlaceHolder 6"/>
          <p:cNvSpPr>
            <a:spLocks noGrp="1"/>
          </p:cNvSpPr>
          <p:nvPr>
            <p:ph type="body"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8" name="PlaceHolder 7"/>
          <p:cNvSpPr>
            <a:spLocks noGrp="1"/>
          </p:cNvSpPr>
          <p:nvPr>
            <p:ph type="body"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3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pt-BR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PlaceHolder 1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5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EE2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ustomShape 1"/>
          <p:cNvSpPr/>
          <p:nvPr/>
        </p:nvSpPr>
        <p:spPr>
          <a:xfrm>
            <a:off x="782280" y="777960"/>
            <a:ext cx="7579080" cy="3864240"/>
          </a:xfrm>
          <a:custGeom>
            <a:avLst/>
            <a:gdLst/>
            <a:ahLst/>
            <a:cxnLst/>
            <a:rect l="l" t="t" r="r" b="b"/>
            <a:pathLst>
              <a:path w="3592202" h="1831582">
                <a:moveTo>
                  <a:pt x="3554475" y="588873"/>
                </a:moveTo>
                <a:cubicBezTo>
                  <a:pt x="3581881" y="-89254"/>
                  <a:pt x="2593478" y="24995"/>
                  <a:pt x="2107652" y="528"/>
                </a:cubicBezTo>
                <a:cubicBezTo>
                  <a:pt x="1659207" y="-4515"/>
                  <a:pt x="1181252" y="27319"/>
                  <a:pt x="750347" y="64701"/>
                </a:cubicBezTo>
                <a:cubicBezTo>
                  <a:pt x="-8045" y="130474"/>
                  <a:pt x="40101" y="825724"/>
                  <a:pt x="6973" y="1349129"/>
                </a:cubicBezTo>
                <a:cubicBezTo>
                  <a:pt x="-5853" y="1475480"/>
                  <a:pt x="-13088" y="1628228"/>
                  <a:pt x="99056" y="1715663"/>
                </a:cubicBezTo>
                <a:cubicBezTo>
                  <a:pt x="135341" y="1744165"/>
                  <a:pt x="181120" y="1758789"/>
                  <a:pt x="226394" y="1766090"/>
                </a:cubicBezTo>
                <a:cubicBezTo>
                  <a:pt x="547610" y="1798407"/>
                  <a:pt x="870976" y="1810947"/>
                  <a:pt x="1193749" y="1821405"/>
                </a:cubicBezTo>
                <a:cubicBezTo>
                  <a:pt x="1869266" y="1838945"/>
                  <a:pt x="2634630" y="1839954"/>
                  <a:pt x="3306903" y="1773939"/>
                </a:cubicBezTo>
                <a:cubicBezTo>
                  <a:pt x="3542965" y="1713230"/>
                  <a:pt x="3574777" y="1531804"/>
                  <a:pt x="3589730" y="1335448"/>
                </a:cubicBezTo>
                <a:cubicBezTo>
                  <a:pt x="3601744" y="1168470"/>
                  <a:pt x="3566731" y="755807"/>
                  <a:pt x="3554475" y="588873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" name="CustomShape 2"/>
          <p:cNvSpPr/>
          <p:nvPr/>
        </p:nvSpPr>
        <p:spPr>
          <a:xfrm>
            <a:off x="794160" y="560160"/>
            <a:ext cx="7398720" cy="3910320"/>
          </a:xfrm>
          <a:custGeom>
            <a:avLst/>
            <a:gdLst/>
            <a:ahLst/>
            <a:cxnLst/>
            <a:rect l="l" t="t" r="r" b="b"/>
            <a:pathLst>
              <a:path w="3506719" h="1853427">
                <a:moveTo>
                  <a:pt x="3499305" y="1166353"/>
                </a:moveTo>
                <a:cubicBezTo>
                  <a:pt x="3487751" y="941889"/>
                  <a:pt x="3482379" y="741016"/>
                  <a:pt x="3468150" y="516750"/>
                </a:cubicBezTo>
                <a:cubicBezTo>
                  <a:pt x="3459578" y="392635"/>
                  <a:pt x="3434540" y="262425"/>
                  <a:pt x="3343926" y="170342"/>
                </a:cubicBezTo>
                <a:cubicBezTo>
                  <a:pt x="3249760" y="74400"/>
                  <a:pt x="3105299" y="78500"/>
                  <a:pt x="2981184" y="57847"/>
                </a:cubicBezTo>
                <a:cubicBezTo>
                  <a:pt x="2181223" y="-47983"/>
                  <a:pt x="1370738" y="7114"/>
                  <a:pt x="571983" y="97465"/>
                </a:cubicBezTo>
                <a:cubicBezTo>
                  <a:pt x="583142" y="79706"/>
                  <a:pt x="597415" y="64118"/>
                  <a:pt x="614122" y="51423"/>
                </a:cubicBezTo>
                <a:cubicBezTo>
                  <a:pt x="621729" y="45657"/>
                  <a:pt x="614122" y="33314"/>
                  <a:pt x="606317" y="39277"/>
                </a:cubicBezTo>
                <a:cubicBezTo>
                  <a:pt x="584019" y="56115"/>
                  <a:pt x="565669" y="77601"/>
                  <a:pt x="552470" y="102223"/>
                </a:cubicBezTo>
                <a:cubicBezTo>
                  <a:pt x="551023" y="104503"/>
                  <a:pt x="551176" y="107419"/>
                  <a:pt x="552843" y="109545"/>
                </a:cubicBezTo>
                <a:cubicBezTo>
                  <a:pt x="552996" y="111124"/>
                  <a:pt x="553654" y="112615"/>
                  <a:pt x="554728" y="113799"/>
                </a:cubicBezTo>
                <a:cubicBezTo>
                  <a:pt x="574416" y="135921"/>
                  <a:pt x="597985" y="154271"/>
                  <a:pt x="624273" y="167908"/>
                </a:cubicBezTo>
                <a:cubicBezTo>
                  <a:pt x="632429" y="172162"/>
                  <a:pt x="639401" y="158700"/>
                  <a:pt x="631025" y="154315"/>
                </a:cubicBezTo>
                <a:cubicBezTo>
                  <a:pt x="609956" y="143265"/>
                  <a:pt x="590728" y="129014"/>
                  <a:pt x="574021" y="112067"/>
                </a:cubicBezTo>
                <a:cubicBezTo>
                  <a:pt x="1426426" y="15774"/>
                  <a:pt x="2294047" y="-40901"/>
                  <a:pt x="3145004" y="97048"/>
                </a:cubicBezTo>
                <a:cubicBezTo>
                  <a:pt x="3209331" y="107550"/>
                  <a:pt x="3269536" y="123884"/>
                  <a:pt x="3319414" y="167886"/>
                </a:cubicBezTo>
                <a:cubicBezTo>
                  <a:pt x="3474552" y="310265"/>
                  <a:pt x="3450632" y="540604"/>
                  <a:pt x="3463897" y="732531"/>
                </a:cubicBezTo>
                <a:cubicBezTo>
                  <a:pt x="3470474" y="878856"/>
                  <a:pt x="3477052" y="1001085"/>
                  <a:pt x="3483783" y="1147410"/>
                </a:cubicBezTo>
                <a:cubicBezTo>
                  <a:pt x="3501191" y="1385138"/>
                  <a:pt x="3525965" y="1744218"/>
                  <a:pt x="3230532" y="1813916"/>
                </a:cubicBezTo>
                <a:cubicBezTo>
                  <a:pt x="3161470" y="1826939"/>
                  <a:pt x="3088899" y="1823212"/>
                  <a:pt x="3018938" y="1824396"/>
                </a:cubicBezTo>
                <a:cubicBezTo>
                  <a:pt x="2066294" y="1838384"/>
                  <a:pt x="1110998" y="1858664"/>
                  <a:pt x="159779" y="1795412"/>
                </a:cubicBezTo>
                <a:cubicBezTo>
                  <a:pt x="96198" y="1786642"/>
                  <a:pt x="52897" y="1750883"/>
                  <a:pt x="37988" y="1686381"/>
                </a:cubicBezTo>
                <a:cubicBezTo>
                  <a:pt x="23014" y="1627185"/>
                  <a:pt x="28429" y="1563604"/>
                  <a:pt x="29218" y="1503201"/>
                </a:cubicBezTo>
                <a:cubicBezTo>
                  <a:pt x="32288" y="1285666"/>
                  <a:pt x="37769" y="1068196"/>
                  <a:pt x="45640" y="850771"/>
                </a:cubicBezTo>
                <a:cubicBezTo>
                  <a:pt x="67279" y="849039"/>
                  <a:pt x="84052" y="831170"/>
                  <a:pt x="84403" y="809465"/>
                </a:cubicBezTo>
                <a:cubicBezTo>
                  <a:pt x="84775" y="785085"/>
                  <a:pt x="61119" y="766449"/>
                  <a:pt x="37528" y="771382"/>
                </a:cubicBezTo>
                <a:cubicBezTo>
                  <a:pt x="-10202" y="773070"/>
                  <a:pt x="-12460" y="837024"/>
                  <a:pt x="31082" y="849280"/>
                </a:cubicBezTo>
                <a:cubicBezTo>
                  <a:pt x="22860" y="1075914"/>
                  <a:pt x="17248" y="1302614"/>
                  <a:pt x="14222" y="1529401"/>
                </a:cubicBezTo>
                <a:cubicBezTo>
                  <a:pt x="6724" y="1697563"/>
                  <a:pt x="25184" y="1816372"/>
                  <a:pt x="222900" y="1815955"/>
                </a:cubicBezTo>
                <a:cubicBezTo>
                  <a:pt x="1165853" y="1869451"/>
                  <a:pt x="2110823" y="1854630"/>
                  <a:pt x="3054653" y="1838559"/>
                </a:cubicBezTo>
                <a:cubicBezTo>
                  <a:pt x="3124352" y="1837376"/>
                  <a:pt x="3196834" y="1840752"/>
                  <a:pt x="3264427" y="1820822"/>
                </a:cubicBezTo>
                <a:cubicBezTo>
                  <a:pt x="3445173" y="1765222"/>
                  <a:pt x="3508426" y="1558539"/>
                  <a:pt x="3506606" y="1387089"/>
                </a:cubicBezTo>
                <a:cubicBezTo>
                  <a:pt x="3507527" y="1313642"/>
                  <a:pt x="3502637" y="1239910"/>
                  <a:pt x="3499305" y="1166353"/>
                </a:cubicBezTo>
                <a:close/>
                <a:moveTo>
                  <a:pt x="14683" y="811175"/>
                </a:moveTo>
                <a:cubicBezTo>
                  <a:pt x="12863" y="794424"/>
                  <a:pt x="28933" y="781270"/>
                  <a:pt x="44807" y="788066"/>
                </a:cubicBezTo>
                <a:cubicBezTo>
                  <a:pt x="47241" y="789162"/>
                  <a:pt x="50112" y="788768"/>
                  <a:pt x="52152" y="787036"/>
                </a:cubicBezTo>
                <a:cubicBezTo>
                  <a:pt x="78987" y="795301"/>
                  <a:pt x="73002" y="833713"/>
                  <a:pt x="45815" y="836191"/>
                </a:cubicBezTo>
                <a:cubicBezTo>
                  <a:pt x="30424" y="837594"/>
                  <a:pt x="16656" y="826588"/>
                  <a:pt x="14683" y="81124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" name="CustomShape 3"/>
          <p:cNvSpPr/>
          <p:nvPr/>
        </p:nvSpPr>
        <p:spPr>
          <a:xfrm>
            <a:off x="7460280" y="542520"/>
            <a:ext cx="813960" cy="1022040"/>
          </a:xfrm>
          <a:custGeom>
            <a:avLst/>
            <a:gdLst/>
            <a:ahLst/>
            <a:cxnLst/>
            <a:rect l="l" t="t" r="r" b="b"/>
            <a:pathLst>
              <a:path w="385904" h="484587">
                <a:moveTo>
                  <a:pt x="316148" y="219239"/>
                </a:moveTo>
                <a:cubicBezTo>
                  <a:pt x="261491" y="116194"/>
                  <a:pt x="157744" y="32311"/>
                  <a:pt x="38101" y="26786"/>
                </a:cubicBezTo>
                <a:cubicBezTo>
                  <a:pt x="47463" y="22510"/>
                  <a:pt x="56935" y="18432"/>
                  <a:pt x="66471" y="14530"/>
                </a:cubicBezTo>
                <a:cubicBezTo>
                  <a:pt x="75241" y="10978"/>
                  <a:pt x="71273" y="-3010"/>
                  <a:pt x="62086" y="586"/>
                </a:cubicBezTo>
                <a:cubicBezTo>
                  <a:pt x="42552" y="8566"/>
                  <a:pt x="23390" y="17336"/>
                  <a:pt x="4578" y="26895"/>
                </a:cubicBezTo>
                <a:cubicBezTo>
                  <a:pt x="-2854" y="30645"/>
                  <a:pt x="-508" y="42440"/>
                  <a:pt x="6398" y="41585"/>
                </a:cubicBezTo>
                <a:cubicBezTo>
                  <a:pt x="7473" y="41870"/>
                  <a:pt x="8591" y="41957"/>
                  <a:pt x="9709" y="41826"/>
                </a:cubicBezTo>
                <a:cubicBezTo>
                  <a:pt x="22162" y="48710"/>
                  <a:pt x="33190" y="57875"/>
                  <a:pt x="42267" y="68837"/>
                </a:cubicBezTo>
                <a:cubicBezTo>
                  <a:pt x="48231" y="76094"/>
                  <a:pt x="60618" y="67368"/>
                  <a:pt x="54786" y="60265"/>
                </a:cubicBezTo>
                <a:cubicBezTo>
                  <a:pt x="49217" y="53468"/>
                  <a:pt x="42990" y="47241"/>
                  <a:pt x="36216" y="41650"/>
                </a:cubicBezTo>
                <a:cubicBezTo>
                  <a:pt x="257544" y="58730"/>
                  <a:pt x="357411" y="281133"/>
                  <a:pt x="371135" y="478147"/>
                </a:cubicBezTo>
                <a:cubicBezTo>
                  <a:pt x="372034" y="487859"/>
                  <a:pt x="386723" y="485952"/>
                  <a:pt x="385869" y="476678"/>
                </a:cubicBezTo>
                <a:cubicBezTo>
                  <a:pt x="377756" y="387730"/>
                  <a:pt x="358704" y="298409"/>
                  <a:pt x="316148" y="219239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" name="CustomShape 4"/>
          <p:cNvSpPr/>
          <p:nvPr/>
        </p:nvSpPr>
        <p:spPr>
          <a:xfrm>
            <a:off x="8121960" y="821160"/>
            <a:ext cx="185400" cy="335520"/>
          </a:xfrm>
          <a:custGeom>
            <a:avLst/>
            <a:gdLst/>
            <a:ahLst/>
            <a:cxnLst/>
            <a:rect l="l" t="t" r="r" b="b"/>
            <a:pathLst>
              <a:path w="88019" h="159157">
                <a:moveTo>
                  <a:pt x="87774" y="149186"/>
                </a:moveTo>
                <a:cubicBezTo>
                  <a:pt x="74290" y="95537"/>
                  <a:pt x="49098" y="45526"/>
                  <a:pt x="14041" y="2730"/>
                </a:cubicBezTo>
                <a:cubicBezTo>
                  <a:pt x="8078" y="-4527"/>
                  <a:pt x="-4309" y="4199"/>
                  <a:pt x="1522" y="11302"/>
                </a:cubicBezTo>
                <a:cubicBezTo>
                  <a:pt x="35835" y="53069"/>
                  <a:pt x="60478" y="101916"/>
                  <a:pt x="73676" y="154338"/>
                </a:cubicBezTo>
                <a:cubicBezTo>
                  <a:pt x="76044" y="163678"/>
                  <a:pt x="90032" y="158065"/>
                  <a:pt x="87774" y="149186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" name="CustomShape 5"/>
          <p:cNvSpPr/>
          <p:nvPr/>
        </p:nvSpPr>
        <p:spPr>
          <a:xfrm>
            <a:off x="2948040" y="505440"/>
            <a:ext cx="830880" cy="95760"/>
          </a:xfrm>
          <a:custGeom>
            <a:avLst/>
            <a:gdLst/>
            <a:ahLst/>
            <a:cxnLst/>
            <a:rect l="l" t="t" r="r" b="b"/>
            <a:pathLst>
              <a:path w="393896" h="45566">
                <a:moveTo>
                  <a:pt x="386461" y="1"/>
                </a:moveTo>
                <a:cubicBezTo>
                  <a:pt x="259364" y="2172"/>
                  <a:pt x="132531" y="12432"/>
                  <a:pt x="6750" y="30696"/>
                </a:cubicBezTo>
                <a:cubicBezTo>
                  <a:pt x="-2393" y="32011"/>
                  <a:pt x="-2305" y="46876"/>
                  <a:pt x="7364" y="45473"/>
                </a:cubicBezTo>
                <a:cubicBezTo>
                  <a:pt x="133145" y="27210"/>
                  <a:pt x="259978" y="16949"/>
                  <a:pt x="387053" y="14778"/>
                </a:cubicBezTo>
                <a:cubicBezTo>
                  <a:pt x="396349" y="14647"/>
                  <a:pt x="396196" y="-152"/>
                  <a:pt x="386461" y="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" name="CustomShape 6"/>
          <p:cNvSpPr/>
          <p:nvPr/>
        </p:nvSpPr>
        <p:spPr>
          <a:xfrm>
            <a:off x="3868200" y="487440"/>
            <a:ext cx="277920" cy="42840"/>
          </a:xfrm>
          <a:custGeom>
            <a:avLst/>
            <a:gdLst/>
            <a:ahLst/>
            <a:cxnLst/>
            <a:rect l="l" t="t" r="r" b="b"/>
            <a:pathLst>
              <a:path w="131926" h="20426">
                <a:moveTo>
                  <a:pt x="124504" y="198"/>
                </a:moveTo>
                <a:cubicBezTo>
                  <a:pt x="85193" y="-635"/>
                  <a:pt x="45860" y="1163"/>
                  <a:pt x="6791" y="5570"/>
                </a:cubicBezTo>
                <a:cubicBezTo>
                  <a:pt x="-2417" y="6622"/>
                  <a:pt x="-2308" y="21465"/>
                  <a:pt x="7405" y="20369"/>
                </a:cubicBezTo>
                <a:cubicBezTo>
                  <a:pt x="46474" y="15962"/>
                  <a:pt x="85807" y="14164"/>
                  <a:pt x="125118" y="14997"/>
                </a:cubicBezTo>
                <a:cubicBezTo>
                  <a:pt x="134392" y="15194"/>
                  <a:pt x="134195" y="417"/>
                  <a:pt x="124504" y="198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6" name="CustomShape 7"/>
          <p:cNvSpPr/>
          <p:nvPr/>
        </p:nvSpPr>
        <p:spPr>
          <a:xfrm>
            <a:off x="3549600" y="4514760"/>
            <a:ext cx="880200" cy="46800"/>
          </a:xfrm>
          <a:custGeom>
            <a:avLst/>
            <a:gdLst/>
            <a:ahLst/>
            <a:cxnLst/>
            <a:rect l="l" t="t" r="r" b="b"/>
            <a:pathLst>
              <a:path w="417355" h="22406">
                <a:moveTo>
                  <a:pt x="409929" y="3189"/>
                </a:moveTo>
                <a:lnTo>
                  <a:pt x="209122" y="5951"/>
                </a:lnTo>
                <a:cubicBezTo>
                  <a:pt x="142580" y="6872"/>
                  <a:pt x="74658" y="11476"/>
                  <a:pt x="8775" y="119"/>
                </a:cubicBezTo>
                <a:cubicBezTo>
                  <a:pt x="-302" y="-1459"/>
                  <a:pt x="-3897" y="13142"/>
                  <a:pt x="5618" y="14787"/>
                </a:cubicBezTo>
                <a:cubicBezTo>
                  <a:pt x="71391" y="26122"/>
                  <a:pt x="139029" y="21715"/>
                  <a:pt x="205351" y="20794"/>
                </a:cubicBezTo>
                <a:lnTo>
                  <a:pt x="410521" y="17966"/>
                </a:lnTo>
                <a:cubicBezTo>
                  <a:pt x="419817" y="17747"/>
                  <a:pt x="419641" y="2969"/>
                  <a:pt x="409929" y="3189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7" name="CustomShape 8"/>
          <p:cNvSpPr/>
          <p:nvPr/>
        </p:nvSpPr>
        <p:spPr>
          <a:xfrm>
            <a:off x="3925080" y="4620960"/>
            <a:ext cx="285120" cy="34920"/>
          </a:xfrm>
          <a:custGeom>
            <a:avLst/>
            <a:gdLst/>
            <a:ahLst/>
            <a:cxnLst/>
            <a:rect l="l" t="t" r="r" b="b"/>
            <a:pathLst>
              <a:path w="135256" h="16655">
                <a:moveTo>
                  <a:pt x="129610" y="810"/>
                </a:moveTo>
                <a:cubicBezTo>
                  <a:pt x="88677" y="-549"/>
                  <a:pt x="47766" y="-198"/>
                  <a:pt x="6832" y="1863"/>
                </a:cubicBezTo>
                <a:cubicBezTo>
                  <a:pt x="-2442" y="2345"/>
                  <a:pt x="-2310" y="17210"/>
                  <a:pt x="7446" y="16640"/>
                </a:cubicBezTo>
                <a:cubicBezTo>
                  <a:pt x="47130" y="14601"/>
                  <a:pt x="86835" y="14228"/>
                  <a:pt x="126562" y="15478"/>
                </a:cubicBezTo>
                <a:cubicBezTo>
                  <a:pt x="135507" y="15785"/>
                  <a:pt x="139191" y="1117"/>
                  <a:pt x="129610" y="81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8" name="PlaceHolder 9"/>
          <p:cNvSpPr>
            <a:spLocks noGrp="1"/>
          </p:cNvSpPr>
          <p:nvPr>
            <p:ph type="title"/>
          </p:nvPr>
        </p:nvSpPr>
        <p:spPr>
          <a:xfrm>
            <a:off x="1868040" y="1731600"/>
            <a:ext cx="5407920" cy="168012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r>
              <a:rPr lang="pt-BR" sz="6800" b="0" strike="noStrike" spc="-1">
                <a:solidFill>
                  <a:srgbClr val="000000"/>
                </a:solidFill>
                <a:latin typeface="Arial"/>
              </a:rPr>
              <a:t>Clique para editar o formato do texto do título</a:t>
            </a:r>
          </a:p>
        </p:txBody>
      </p:sp>
      <p:sp>
        <p:nvSpPr>
          <p:cNvPr id="9" name="CustomShape 10"/>
          <p:cNvSpPr/>
          <p:nvPr/>
        </p:nvSpPr>
        <p:spPr>
          <a:xfrm rot="20728200">
            <a:off x="594360" y="662760"/>
            <a:ext cx="1234440" cy="1390320"/>
          </a:xfrm>
          <a:custGeom>
            <a:avLst/>
            <a:gdLst/>
            <a:ahLst/>
            <a:cxnLst/>
            <a:rect l="l" t="t" r="r" b="b"/>
            <a:pathLst>
              <a:path w="584559" h="658270">
                <a:moveTo>
                  <a:pt x="400656" y="592594"/>
                </a:moveTo>
                <a:cubicBezTo>
                  <a:pt x="398705" y="592697"/>
                  <a:pt x="396842" y="593473"/>
                  <a:pt x="395395" y="594786"/>
                </a:cubicBezTo>
                <a:cubicBezTo>
                  <a:pt x="372790" y="614869"/>
                  <a:pt x="326968" y="608292"/>
                  <a:pt x="296493" y="605310"/>
                </a:cubicBezTo>
                <a:cubicBezTo>
                  <a:pt x="253302" y="602043"/>
                  <a:pt x="220963" y="596014"/>
                  <a:pt x="191671" y="585731"/>
                </a:cubicBezTo>
                <a:cubicBezTo>
                  <a:pt x="185292" y="583232"/>
                  <a:pt x="178517" y="589173"/>
                  <a:pt x="177552" y="595027"/>
                </a:cubicBezTo>
                <a:cubicBezTo>
                  <a:pt x="176719" y="598472"/>
                  <a:pt x="178846" y="601934"/>
                  <a:pt x="182288" y="602767"/>
                </a:cubicBezTo>
                <a:cubicBezTo>
                  <a:pt x="218069" y="615921"/>
                  <a:pt x="265294" y="622893"/>
                  <a:pt x="316028" y="625524"/>
                </a:cubicBezTo>
                <a:cubicBezTo>
                  <a:pt x="346152" y="628462"/>
                  <a:pt x="384498" y="628528"/>
                  <a:pt x="404515" y="610440"/>
                </a:cubicBezTo>
                <a:cubicBezTo>
                  <a:pt x="412320" y="604038"/>
                  <a:pt x="407585" y="592901"/>
                  <a:pt x="400656" y="592594"/>
                </a:cubicBezTo>
                <a:close/>
                <a:moveTo>
                  <a:pt x="310547" y="639710"/>
                </a:moveTo>
                <a:lnTo>
                  <a:pt x="268429" y="637692"/>
                </a:lnTo>
                <a:cubicBezTo>
                  <a:pt x="263694" y="637495"/>
                  <a:pt x="258191" y="639490"/>
                  <a:pt x="256788" y="645673"/>
                </a:cubicBezTo>
                <a:cubicBezTo>
                  <a:pt x="256042" y="649839"/>
                  <a:pt x="258191" y="655671"/>
                  <a:pt x="263365" y="656241"/>
                </a:cubicBezTo>
                <a:lnTo>
                  <a:pt x="305460" y="658258"/>
                </a:lnTo>
                <a:cubicBezTo>
                  <a:pt x="310218" y="658455"/>
                  <a:pt x="315699" y="656460"/>
                  <a:pt x="317124" y="650277"/>
                </a:cubicBezTo>
                <a:cubicBezTo>
                  <a:pt x="317847" y="646111"/>
                  <a:pt x="315699" y="640258"/>
                  <a:pt x="310547" y="639710"/>
                </a:cubicBezTo>
                <a:close/>
                <a:moveTo>
                  <a:pt x="85075" y="404459"/>
                </a:moveTo>
                <a:cubicBezTo>
                  <a:pt x="50631" y="383609"/>
                  <a:pt x="26799" y="349648"/>
                  <a:pt x="17985" y="308824"/>
                </a:cubicBezTo>
                <a:cubicBezTo>
                  <a:pt x="14894" y="296437"/>
                  <a:pt x="-2448" y="306303"/>
                  <a:pt x="292" y="316257"/>
                </a:cubicBezTo>
                <a:cubicBezTo>
                  <a:pt x="9829" y="360347"/>
                  <a:pt x="37038" y="397925"/>
                  <a:pt x="77028" y="422064"/>
                </a:cubicBezTo>
                <a:cubicBezTo>
                  <a:pt x="82224" y="425572"/>
                  <a:pt x="87991" y="421034"/>
                  <a:pt x="89262" y="415641"/>
                </a:cubicBezTo>
                <a:cubicBezTo>
                  <a:pt x="90643" y="411394"/>
                  <a:pt x="88911" y="406755"/>
                  <a:pt x="85075" y="404459"/>
                </a:cubicBezTo>
                <a:close/>
                <a:moveTo>
                  <a:pt x="329906" y="581522"/>
                </a:moveTo>
                <a:cubicBezTo>
                  <a:pt x="357816" y="581522"/>
                  <a:pt x="380332" y="577751"/>
                  <a:pt x="400656" y="569661"/>
                </a:cubicBezTo>
                <a:cubicBezTo>
                  <a:pt x="405261" y="567896"/>
                  <a:pt x="407870" y="563002"/>
                  <a:pt x="406752" y="558194"/>
                </a:cubicBezTo>
                <a:cubicBezTo>
                  <a:pt x="406357" y="554364"/>
                  <a:pt x="403243" y="551382"/>
                  <a:pt x="399407" y="551134"/>
                </a:cubicBezTo>
                <a:cubicBezTo>
                  <a:pt x="398135" y="551161"/>
                  <a:pt x="396885" y="551428"/>
                  <a:pt x="395701" y="551924"/>
                </a:cubicBezTo>
                <a:cubicBezTo>
                  <a:pt x="365511" y="565078"/>
                  <a:pt x="319887" y="564201"/>
                  <a:pt x="285399" y="560123"/>
                </a:cubicBezTo>
                <a:cubicBezTo>
                  <a:pt x="250079" y="556857"/>
                  <a:pt x="213553" y="549337"/>
                  <a:pt x="177004" y="540545"/>
                </a:cubicBezTo>
                <a:cubicBezTo>
                  <a:pt x="172137" y="540545"/>
                  <a:pt x="169352" y="544930"/>
                  <a:pt x="168826" y="549095"/>
                </a:cubicBezTo>
                <a:cubicBezTo>
                  <a:pt x="167884" y="553862"/>
                  <a:pt x="170887" y="558516"/>
                  <a:pt x="175623" y="559619"/>
                </a:cubicBezTo>
                <a:cubicBezTo>
                  <a:pt x="226663" y="572796"/>
                  <a:pt x="279633" y="581061"/>
                  <a:pt x="329906" y="581522"/>
                </a:cubicBezTo>
                <a:close/>
                <a:moveTo>
                  <a:pt x="216951" y="106307"/>
                </a:moveTo>
                <a:cubicBezTo>
                  <a:pt x="171238" y="119725"/>
                  <a:pt x="136444" y="158926"/>
                  <a:pt x="123991" y="204968"/>
                </a:cubicBezTo>
                <a:cubicBezTo>
                  <a:pt x="122237" y="210887"/>
                  <a:pt x="126183" y="214877"/>
                  <a:pt x="132081" y="214899"/>
                </a:cubicBezTo>
                <a:cubicBezTo>
                  <a:pt x="136860" y="215086"/>
                  <a:pt x="141114" y="211902"/>
                  <a:pt x="142276" y="207270"/>
                </a:cubicBezTo>
                <a:cubicBezTo>
                  <a:pt x="152602" y="168886"/>
                  <a:pt x="181104" y="138014"/>
                  <a:pt x="218551" y="124658"/>
                </a:cubicBezTo>
                <a:cubicBezTo>
                  <a:pt x="228198" y="121216"/>
                  <a:pt x="226334" y="106811"/>
                  <a:pt x="216951" y="106307"/>
                </a:cubicBezTo>
                <a:close/>
                <a:moveTo>
                  <a:pt x="259660" y="91574"/>
                </a:moveTo>
                <a:cubicBezTo>
                  <a:pt x="248325" y="91574"/>
                  <a:pt x="248127" y="110232"/>
                  <a:pt x="260690" y="110297"/>
                </a:cubicBezTo>
                <a:cubicBezTo>
                  <a:pt x="272025" y="110407"/>
                  <a:pt x="272201" y="91640"/>
                  <a:pt x="259660" y="91574"/>
                </a:cubicBezTo>
                <a:close/>
                <a:moveTo>
                  <a:pt x="557483" y="48689"/>
                </a:moveTo>
                <a:cubicBezTo>
                  <a:pt x="551256" y="39700"/>
                  <a:pt x="533760" y="49939"/>
                  <a:pt x="541193" y="59235"/>
                </a:cubicBezTo>
                <a:cubicBezTo>
                  <a:pt x="556321" y="77557"/>
                  <a:pt x="565003" y="100330"/>
                  <a:pt x="565946" y="124066"/>
                </a:cubicBezTo>
                <a:cubicBezTo>
                  <a:pt x="565770" y="128275"/>
                  <a:pt x="569059" y="131825"/>
                  <a:pt x="573268" y="131992"/>
                </a:cubicBezTo>
                <a:cubicBezTo>
                  <a:pt x="573532" y="132003"/>
                  <a:pt x="573817" y="131998"/>
                  <a:pt x="574080" y="131981"/>
                </a:cubicBezTo>
                <a:cubicBezTo>
                  <a:pt x="579561" y="132272"/>
                  <a:pt x="584253" y="128058"/>
                  <a:pt x="584538" y="122569"/>
                </a:cubicBezTo>
                <a:cubicBezTo>
                  <a:pt x="584560" y="122323"/>
                  <a:pt x="584560" y="122075"/>
                  <a:pt x="584560" y="121830"/>
                </a:cubicBezTo>
                <a:cubicBezTo>
                  <a:pt x="583639" y="95169"/>
                  <a:pt x="574146" y="69515"/>
                  <a:pt x="557483" y="48689"/>
                </a:cubicBezTo>
                <a:close/>
                <a:moveTo>
                  <a:pt x="403682" y="258"/>
                </a:moveTo>
                <a:cubicBezTo>
                  <a:pt x="392720" y="-2395"/>
                  <a:pt x="387765" y="16219"/>
                  <a:pt x="399780" y="18960"/>
                </a:cubicBezTo>
                <a:cubicBezTo>
                  <a:pt x="493595" y="37946"/>
                  <a:pt x="532160" y="149148"/>
                  <a:pt x="535120" y="227659"/>
                </a:cubicBezTo>
                <a:cubicBezTo>
                  <a:pt x="535076" y="232018"/>
                  <a:pt x="538562" y="235590"/>
                  <a:pt x="542925" y="235633"/>
                </a:cubicBezTo>
                <a:cubicBezTo>
                  <a:pt x="543122" y="235636"/>
                  <a:pt x="543320" y="235631"/>
                  <a:pt x="543517" y="235618"/>
                </a:cubicBezTo>
                <a:cubicBezTo>
                  <a:pt x="546499" y="235695"/>
                  <a:pt x="549371" y="234555"/>
                  <a:pt x="551497" y="232461"/>
                </a:cubicBezTo>
                <a:cubicBezTo>
                  <a:pt x="553208" y="230630"/>
                  <a:pt x="554062" y="228157"/>
                  <a:pt x="553822" y="225664"/>
                </a:cubicBezTo>
                <a:cubicBezTo>
                  <a:pt x="551629" y="188393"/>
                  <a:pt x="542859" y="133800"/>
                  <a:pt x="514993" y="85610"/>
                </a:cubicBezTo>
                <a:cubicBezTo>
                  <a:pt x="488442" y="39898"/>
                  <a:pt x="451017" y="11220"/>
                  <a:pt x="403682" y="258"/>
                </a:cubicBezTo>
                <a:close/>
                <a:moveTo>
                  <a:pt x="431548" y="75240"/>
                </a:moveTo>
                <a:cubicBezTo>
                  <a:pt x="312936" y="-26709"/>
                  <a:pt x="83934" y="43559"/>
                  <a:pt x="55323" y="204968"/>
                </a:cubicBezTo>
                <a:cubicBezTo>
                  <a:pt x="46553" y="255569"/>
                  <a:pt x="59708" y="304373"/>
                  <a:pt x="92134" y="342369"/>
                </a:cubicBezTo>
                <a:cubicBezTo>
                  <a:pt x="111406" y="364995"/>
                  <a:pt x="133352" y="384398"/>
                  <a:pt x="147757" y="411431"/>
                </a:cubicBezTo>
                <a:cubicBezTo>
                  <a:pt x="162161" y="438464"/>
                  <a:pt x="168498" y="469312"/>
                  <a:pt x="166524" y="502681"/>
                </a:cubicBezTo>
                <a:cubicBezTo>
                  <a:pt x="166480" y="503654"/>
                  <a:pt x="165998" y="504556"/>
                  <a:pt x="165209" y="505137"/>
                </a:cubicBezTo>
                <a:cubicBezTo>
                  <a:pt x="161986" y="507785"/>
                  <a:pt x="160495" y="512012"/>
                  <a:pt x="161350" y="516099"/>
                </a:cubicBezTo>
                <a:cubicBezTo>
                  <a:pt x="161964" y="519442"/>
                  <a:pt x="164573" y="522060"/>
                  <a:pt x="167928" y="522676"/>
                </a:cubicBezTo>
                <a:cubicBezTo>
                  <a:pt x="215043" y="533845"/>
                  <a:pt x="263124" y="540387"/>
                  <a:pt x="311511" y="542211"/>
                </a:cubicBezTo>
                <a:cubicBezTo>
                  <a:pt x="350011" y="543022"/>
                  <a:pt x="388510" y="548218"/>
                  <a:pt x="425651" y="525855"/>
                </a:cubicBezTo>
                <a:cubicBezTo>
                  <a:pt x="429180" y="523911"/>
                  <a:pt x="430847" y="519741"/>
                  <a:pt x="429619" y="515902"/>
                </a:cubicBezTo>
                <a:cubicBezTo>
                  <a:pt x="428610" y="511990"/>
                  <a:pt x="425190" y="509184"/>
                  <a:pt x="421156" y="508973"/>
                </a:cubicBezTo>
                <a:cubicBezTo>
                  <a:pt x="418656" y="508601"/>
                  <a:pt x="416004" y="511626"/>
                  <a:pt x="413526" y="510048"/>
                </a:cubicBezTo>
                <a:cubicBezTo>
                  <a:pt x="412518" y="509440"/>
                  <a:pt x="411926" y="508346"/>
                  <a:pt x="411948" y="507176"/>
                </a:cubicBezTo>
                <a:cubicBezTo>
                  <a:pt x="412452" y="477012"/>
                  <a:pt x="419906" y="447368"/>
                  <a:pt x="433719" y="420552"/>
                </a:cubicBezTo>
                <a:cubicBezTo>
                  <a:pt x="441458" y="405731"/>
                  <a:pt x="451697" y="392642"/>
                  <a:pt x="461607" y="379969"/>
                </a:cubicBezTo>
                <a:cubicBezTo>
                  <a:pt x="467856" y="371989"/>
                  <a:pt x="474323" y="363723"/>
                  <a:pt x="480045" y="355151"/>
                </a:cubicBezTo>
                <a:cubicBezTo>
                  <a:pt x="530231" y="279708"/>
                  <a:pt x="512033" y="136629"/>
                  <a:pt x="431548" y="75240"/>
                </a:cubicBezTo>
                <a:close/>
                <a:moveTo>
                  <a:pt x="334116" y="324171"/>
                </a:moveTo>
                <a:cubicBezTo>
                  <a:pt x="324644" y="390296"/>
                  <a:pt x="323548" y="458108"/>
                  <a:pt x="320961" y="523312"/>
                </a:cubicBezTo>
                <a:cubicBezTo>
                  <a:pt x="320303" y="523941"/>
                  <a:pt x="319404" y="524268"/>
                  <a:pt x="318483" y="524211"/>
                </a:cubicBezTo>
                <a:cubicBezTo>
                  <a:pt x="310788" y="523685"/>
                  <a:pt x="302873" y="523027"/>
                  <a:pt x="295419" y="522567"/>
                </a:cubicBezTo>
                <a:cubicBezTo>
                  <a:pt x="285224" y="521909"/>
                  <a:pt x="274832" y="520988"/>
                  <a:pt x="263694" y="519760"/>
                </a:cubicBezTo>
                <a:cubicBezTo>
                  <a:pt x="262006" y="519589"/>
                  <a:pt x="260734" y="518149"/>
                  <a:pt x="260756" y="516450"/>
                </a:cubicBezTo>
                <a:cubicBezTo>
                  <a:pt x="256108" y="449957"/>
                  <a:pt x="246001" y="383960"/>
                  <a:pt x="230522" y="319129"/>
                </a:cubicBezTo>
                <a:cubicBezTo>
                  <a:pt x="230127" y="317344"/>
                  <a:pt x="231245" y="315575"/>
                  <a:pt x="233021" y="315174"/>
                </a:cubicBezTo>
                <a:cubicBezTo>
                  <a:pt x="233263" y="315123"/>
                  <a:pt x="233482" y="315097"/>
                  <a:pt x="233723" y="315095"/>
                </a:cubicBezTo>
                <a:cubicBezTo>
                  <a:pt x="235170" y="315095"/>
                  <a:pt x="236639" y="315270"/>
                  <a:pt x="238108" y="315270"/>
                </a:cubicBezTo>
                <a:cubicBezTo>
                  <a:pt x="248654" y="315443"/>
                  <a:pt x="258914" y="311896"/>
                  <a:pt x="267114" y="305250"/>
                </a:cubicBezTo>
                <a:cubicBezTo>
                  <a:pt x="268342" y="304255"/>
                  <a:pt x="270074" y="304255"/>
                  <a:pt x="271302" y="305250"/>
                </a:cubicBezTo>
                <a:cubicBezTo>
                  <a:pt x="284128" y="315555"/>
                  <a:pt x="301338" y="320773"/>
                  <a:pt x="322452" y="320773"/>
                </a:cubicBezTo>
                <a:cubicBezTo>
                  <a:pt x="326003" y="321321"/>
                  <a:pt x="334291" y="318164"/>
                  <a:pt x="334116" y="324171"/>
                </a:cubicBezTo>
                <a:close/>
                <a:moveTo>
                  <a:pt x="269811" y="253245"/>
                </a:moveTo>
                <a:cubicBezTo>
                  <a:pt x="271214" y="252283"/>
                  <a:pt x="273100" y="252539"/>
                  <a:pt x="274196" y="253837"/>
                </a:cubicBezTo>
                <a:cubicBezTo>
                  <a:pt x="276783" y="256863"/>
                  <a:pt x="276892" y="261292"/>
                  <a:pt x="274481" y="266992"/>
                </a:cubicBezTo>
                <a:cubicBezTo>
                  <a:pt x="273779" y="268665"/>
                  <a:pt x="271850" y="269452"/>
                  <a:pt x="270183" y="268746"/>
                </a:cubicBezTo>
                <a:cubicBezTo>
                  <a:pt x="269504" y="268468"/>
                  <a:pt x="268956" y="267983"/>
                  <a:pt x="268605" y="267365"/>
                </a:cubicBezTo>
                <a:cubicBezTo>
                  <a:pt x="263694" y="259033"/>
                  <a:pt x="267268" y="254934"/>
                  <a:pt x="269811" y="253245"/>
                </a:cubicBezTo>
                <a:close/>
                <a:moveTo>
                  <a:pt x="478971" y="317945"/>
                </a:moveTo>
                <a:cubicBezTo>
                  <a:pt x="470201" y="344035"/>
                  <a:pt x="451127" y="362759"/>
                  <a:pt x="435539" y="384157"/>
                </a:cubicBezTo>
                <a:cubicBezTo>
                  <a:pt x="407300" y="422707"/>
                  <a:pt x="392523" y="469481"/>
                  <a:pt x="393487" y="517261"/>
                </a:cubicBezTo>
                <a:cubicBezTo>
                  <a:pt x="393750" y="518936"/>
                  <a:pt x="392698" y="520536"/>
                  <a:pt x="391054" y="520966"/>
                </a:cubicBezTo>
                <a:cubicBezTo>
                  <a:pt x="377241" y="524161"/>
                  <a:pt x="363100" y="525634"/>
                  <a:pt x="348937" y="525351"/>
                </a:cubicBezTo>
                <a:cubicBezTo>
                  <a:pt x="345473" y="525351"/>
                  <a:pt x="339641" y="526338"/>
                  <a:pt x="340561" y="520966"/>
                </a:cubicBezTo>
                <a:cubicBezTo>
                  <a:pt x="340145" y="453831"/>
                  <a:pt x="344332" y="386744"/>
                  <a:pt x="353102" y="320181"/>
                </a:cubicBezTo>
                <a:cubicBezTo>
                  <a:pt x="353431" y="315796"/>
                  <a:pt x="359942" y="316695"/>
                  <a:pt x="363056" y="315423"/>
                </a:cubicBezTo>
                <a:cubicBezTo>
                  <a:pt x="374566" y="312310"/>
                  <a:pt x="368669" y="297182"/>
                  <a:pt x="359855" y="297643"/>
                </a:cubicBezTo>
                <a:cubicBezTo>
                  <a:pt x="341175" y="301567"/>
                  <a:pt x="314603" y="306675"/>
                  <a:pt x="295068" y="297029"/>
                </a:cubicBezTo>
                <a:cubicBezTo>
                  <a:pt x="291100" y="295229"/>
                  <a:pt x="287372" y="292953"/>
                  <a:pt x="283952" y="290254"/>
                </a:cubicBezTo>
                <a:cubicBezTo>
                  <a:pt x="282593" y="289206"/>
                  <a:pt x="282286" y="287294"/>
                  <a:pt x="283228" y="285869"/>
                </a:cubicBezTo>
                <a:cubicBezTo>
                  <a:pt x="293402" y="269864"/>
                  <a:pt x="297633" y="254144"/>
                  <a:pt x="294586" y="243818"/>
                </a:cubicBezTo>
                <a:cubicBezTo>
                  <a:pt x="292393" y="235662"/>
                  <a:pt x="283623" y="229698"/>
                  <a:pt x="275029" y="229720"/>
                </a:cubicBezTo>
                <a:cubicBezTo>
                  <a:pt x="265733" y="229720"/>
                  <a:pt x="256590" y="235991"/>
                  <a:pt x="252249" y="245331"/>
                </a:cubicBezTo>
                <a:cubicBezTo>
                  <a:pt x="245672" y="259560"/>
                  <a:pt x="249859" y="276288"/>
                  <a:pt x="256020" y="287206"/>
                </a:cubicBezTo>
                <a:cubicBezTo>
                  <a:pt x="256810" y="288616"/>
                  <a:pt x="256459" y="290392"/>
                  <a:pt x="255187" y="291394"/>
                </a:cubicBezTo>
                <a:cubicBezTo>
                  <a:pt x="250539" y="294950"/>
                  <a:pt x="244817" y="296785"/>
                  <a:pt x="238963" y="296590"/>
                </a:cubicBezTo>
                <a:cubicBezTo>
                  <a:pt x="226707" y="296912"/>
                  <a:pt x="215723" y="289024"/>
                  <a:pt x="212127" y="277297"/>
                </a:cubicBezTo>
                <a:cubicBezTo>
                  <a:pt x="211491" y="273854"/>
                  <a:pt x="208444" y="271397"/>
                  <a:pt x="204936" y="271509"/>
                </a:cubicBezTo>
                <a:cubicBezTo>
                  <a:pt x="201341" y="271592"/>
                  <a:pt x="197986" y="273302"/>
                  <a:pt x="195815" y="276157"/>
                </a:cubicBezTo>
                <a:cubicBezTo>
                  <a:pt x="189764" y="284093"/>
                  <a:pt x="200858" y="298914"/>
                  <a:pt x="207458" y="304351"/>
                </a:cubicBezTo>
                <a:cubicBezTo>
                  <a:pt x="209277" y="305689"/>
                  <a:pt x="208268" y="308364"/>
                  <a:pt x="208860" y="310096"/>
                </a:cubicBezTo>
                <a:cubicBezTo>
                  <a:pt x="224471" y="376768"/>
                  <a:pt x="239270" y="447015"/>
                  <a:pt x="240717" y="515573"/>
                </a:cubicBezTo>
                <a:cubicBezTo>
                  <a:pt x="239993" y="516254"/>
                  <a:pt x="238985" y="516561"/>
                  <a:pt x="237998" y="516406"/>
                </a:cubicBezTo>
                <a:cubicBezTo>
                  <a:pt x="221051" y="513950"/>
                  <a:pt x="203971" y="510881"/>
                  <a:pt x="187243" y="507263"/>
                </a:cubicBezTo>
                <a:cubicBezTo>
                  <a:pt x="185445" y="506853"/>
                  <a:pt x="184327" y="505064"/>
                  <a:pt x="184743" y="503271"/>
                </a:cubicBezTo>
                <a:cubicBezTo>
                  <a:pt x="184743" y="503264"/>
                  <a:pt x="184743" y="503258"/>
                  <a:pt x="184743" y="503251"/>
                </a:cubicBezTo>
                <a:cubicBezTo>
                  <a:pt x="189128" y="453088"/>
                  <a:pt x="172027" y="403538"/>
                  <a:pt x="138351" y="364491"/>
                </a:cubicBezTo>
                <a:cubicBezTo>
                  <a:pt x="121272" y="344758"/>
                  <a:pt x="101847" y="327526"/>
                  <a:pt x="88583" y="304373"/>
                </a:cubicBezTo>
                <a:cubicBezTo>
                  <a:pt x="76480" y="282423"/>
                  <a:pt x="70473" y="257630"/>
                  <a:pt x="71174" y="232571"/>
                </a:cubicBezTo>
                <a:cubicBezTo>
                  <a:pt x="72928" y="120448"/>
                  <a:pt x="178451" y="56078"/>
                  <a:pt x="275073" y="47045"/>
                </a:cubicBezTo>
                <a:cubicBezTo>
                  <a:pt x="428588" y="33145"/>
                  <a:pt x="520649" y="175808"/>
                  <a:pt x="478971" y="317967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0" name="CustomShape 11"/>
          <p:cNvSpPr/>
          <p:nvPr/>
        </p:nvSpPr>
        <p:spPr>
          <a:xfrm rot="16200000">
            <a:off x="545760" y="3237840"/>
            <a:ext cx="540000" cy="263880"/>
          </a:xfrm>
          <a:custGeom>
            <a:avLst/>
            <a:gdLst/>
            <a:ahLst/>
            <a:cxnLst/>
            <a:rect l="l" t="t" r="r" b="b"/>
            <a:pathLst>
              <a:path w="256043" h="125260">
                <a:moveTo>
                  <a:pt x="122835" y="3891"/>
                </a:moveTo>
                <a:cubicBezTo>
                  <a:pt x="106677" y="35258"/>
                  <a:pt x="90541" y="66632"/>
                  <a:pt x="74404" y="98013"/>
                </a:cubicBezTo>
                <a:cubicBezTo>
                  <a:pt x="67103" y="82972"/>
                  <a:pt x="59737" y="67939"/>
                  <a:pt x="52348" y="52914"/>
                </a:cubicBezTo>
                <a:cubicBezTo>
                  <a:pt x="49783" y="47630"/>
                  <a:pt x="41583" y="45218"/>
                  <a:pt x="38602" y="51708"/>
                </a:cubicBezTo>
                <a:cubicBezTo>
                  <a:pt x="30007" y="70416"/>
                  <a:pt x="17598" y="87110"/>
                  <a:pt x="2141" y="100709"/>
                </a:cubicBezTo>
                <a:cubicBezTo>
                  <a:pt x="-4787" y="106848"/>
                  <a:pt x="6723" y="116802"/>
                  <a:pt x="13629" y="110685"/>
                </a:cubicBezTo>
                <a:cubicBezTo>
                  <a:pt x="26258" y="99453"/>
                  <a:pt x="36979" y="86235"/>
                  <a:pt x="45354" y="71550"/>
                </a:cubicBezTo>
                <a:lnTo>
                  <a:pt x="67432" y="116670"/>
                </a:lnTo>
                <a:cubicBezTo>
                  <a:pt x="70107" y="122174"/>
                  <a:pt x="77978" y="124147"/>
                  <a:pt x="81179" y="117876"/>
                </a:cubicBezTo>
                <a:lnTo>
                  <a:pt x="128580" y="25793"/>
                </a:lnTo>
                <a:cubicBezTo>
                  <a:pt x="139147" y="55900"/>
                  <a:pt x="147259" y="86822"/>
                  <a:pt x="152784" y="118249"/>
                </a:cubicBezTo>
                <a:cubicBezTo>
                  <a:pt x="153969" y="125024"/>
                  <a:pt x="163462" y="128422"/>
                  <a:pt x="166970" y="121318"/>
                </a:cubicBezTo>
                <a:cubicBezTo>
                  <a:pt x="177515" y="99979"/>
                  <a:pt x="188039" y="78638"/>
                  <a:pt x="198585" y="57299"/>
                </a:cubicBezTo>
                <a:cubicBezTo>
                  <a:pt x="214107" y="75321"/>
                  <a:pt x="228819" y="94022"/>
                  <a:pt x="242434" y="113469"/>
                </a:cubicBezTo>
                <a:cubicBezTo>
                  <a:pt x="247959" y="121297"/>
                  <a:pt x="260259" y="113711"/>
                  <a:pt x="254580" y="105686"/>
                </a:cubicBezTo>
                <a:cubicBezTo>
                  <a:pt x="238509" y="82896"/>
                  <a:pt x="221145" y="61039"/>
                  <a:pt x="202575" y="40220"/>
                </a:cubicBezTo>
                <a:cubicBezTo>
                  <a:pt x="199023" y="36229"/>
                  <a:pt x="192512" y="35089"/>
                  <a:pt x="189705" y="40746"/>
                </a:cubicBezTo>
                <a:lnTo>
                  <a:pt x="163001" y="94899"/>
                </a:lnTo>
                <a:cubicBezTo>
                  <a:pt x="156468" y="64295"/>
                  <a:pt x="147566" y="34241"/>
                  <a:pt x="136407" y="5009"/>
                </a:cubicBezTo>
                <a:cubicBezTo>
                  <a:pt x="134324" y="-823"/>
                  <a:pt x="125861" y="-2029"/>
                  <a:pt x="122835" y="389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1" name="CustomShape 12"/>
          <p:cNvSpPr/>
          <p:nvPr/>
        </p:nvSpPr>
        <p:spPr>
          <a:xfrm rot="1737600">
            <a:off x="7950240" y="3938040"/>
            <a:ext cx="211320" cy="267840"/>
          </a:xfrm>
          <a:custGeom>
            <a:avLst/>
            <a:gdLst/>
            <a:ahLst/>
            <a:cxnLst/>
            <a:rect l="l" t="t" r="r" b="b"/>
            <a:pathLst>
              <a:path w="100280" h="126996">
                <a:moveTo>
                  <a:pt x="96357" y="74864"/>
                </a:moveTo>
                <a:cubicBezTo>
                  <a:pt x="82786" y="68484"/>
                  <a:pt x="69679" y="61157"/>
                  <a:pt x="57134" y="52940"/>
                </a:cubicBezTo>
                <a:cubicBezTo>
                  <a:pt x="68090" y="38401"/>
                  <a:pt x="80061" y="24657"/>
                  <a:pt x="92959" y="11809"/>
                </a:cubicBezTo>
                <a:cubicBezTo>
                  <a:pt x="99865" y="4925"/>
                  <a:pt x="88969" y="-4459"/>
                  <a:pt x="81997" y="2382"/>
                </a:cubicBezTo>
                <a:cubicBezTo>
                  <a:pt x="68721" y="15624"/>
                  <a:pt x="56406" y="29794"/>
                  <a:pt x="45141" y="44784"/>
                </a:cubicBezTo>
                <a:cubicBezTo>
                  <a:pt x="33594" y="36487"/>
                  <a:pt x="22607" y="27435"/>
                  <a:pt x="12255" y="17685"/>
                </a:cubicBezTo>
                <a:cubicBezTo>
                  <a:pt x="5480" y="11305"/>
                  <a:pt x="-4518" y="22793"/>
                  <a:pt x="2257" y="29173"/>
                </a:cubicBezTo>
                <a:cubicBezTo>
                  <a:pt x="12947" y="39230"/>
                  <a:pt x="24293" y="48568"/>
                  <a:pt x="36218" y="57127"/>
                </a:cubicBezTo>
                <a:cubicBezTo>
                  <a:pt x="23171" y="75947"/>
                  <a:pt x="11779" y="95863"/>
                  <a:pt x="2169" y="116652"/>
                </a:cubicBezTo>
                <a:cubicBezTo>
                  <a:pt x="-1953" y="125554"/>
                  <a:pt x="11246" y="131429"/>
                  <a:pt x="15324" y="122703"/>
                </a:cubicBezTo>
                <a:cubicBezTo>
                  <a:pt x="24609" y="102651"/>
                  <a:pt x="35613" y="83439"/>
                  <a:pt x="48211" y="65283"/>
                </a:cubicBezTo>
                <a:cubicBezTo>
                  <a:pt x="61447" y="73978"/>
                  <a:pt x="75279" y="81731"/>
                  <a:pt x="89604" y="88479"/>
                </a:cubicBezTo>
                <a:cubicBezTo>
                  <a:pt x="97936" y="92360"/>
                  <a:pt x="104951" y="78898"/>
                  <a:pt x="96357" y="74864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2" name="PlaceHolder 1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Clique para editar o formato do texto da estrutura de tópicos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2.º nível da estrutura de tópicos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3.º nível da estrutura de tópicos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4.º nível da estrutura de tópicos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5.º nível da estrutura de tópicos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6.º nível da estrutura de tópicos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7.º nível da estrutura de tópico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8" name="CustomShape 1"/>
          <p:cNvSpPr/>
          <p:nvPr/>
        </p:nvSpPr>
        <p:spPr>
          <a:xfrm rot="20715000">
            <a:off x="7997040" y="3564720"/>
            <a:ext cx="912600" cy="928080"/>
          </a:xfrm>
          <a:custGeom>
            <a:avLst/>
            <a:gdLst/>
            <a:ahLst/>
            <a:cxnLst/>
            <a:rect l="l" t="t" r="r" b="b"/>
            <a:pathLst>
              <a:path w="549996" h="559316">
                <a:moveTo>
                  <a:pt x="536665" y="198722"/>
                </a:moveTo>
                <a:cubicBezTo>
                  <a:pt x="507988" y="55467"/>
                  <a:pt x="324589" y="-49573"/>
                  <a:pt x="179295" y="24291"/>
                </a:cubicBezTo>
                <a:cubicBezTo>
                  <a:pt x="17974" y="106420"/>
                  <a:pt x="-81169" y="375917"/>
                  <a:pt x="88111" y="512244"/>
                </a:cubicBezTo>
                <a:cubicBezTo>
                  <a:pt x="141168" y="554536"/>
                  <a:pt x="210888" y="558504"/>
                  <a:pt x="276092" y="557584"/>
                </a:cubicBezTo>
                <a:cubicBezTo>
                  <a:pt x="484178" y="579947"/>
                  <a:pt x="588999" y="381814"/>
                  <a:pt x="536665" y="19872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49" name="CustomShape 2"/>
          <p:cNvSpPr/>
          <p:nvPr/>
        </p:nvSpPr>
        <p:spPr>
          <a:xfrm>
            <a:off x="642600" y="331920"/>
            <a:ext cx="6942960" cy="927360"/>
          </a:xfrm>
          <a:custGeom>
            <a:avLst/>
            <a:gdLst/>
            <a:ahLst/>
            <a:cxnLst/>
            <a:rect l="l" t="t" r="r" b="b"/>
            <a:pathLst>
              <a:path w="3290684" h="399035">
                <a:moveTo>
                  <a:pt x="3288221" y="146895"/>
                </a:moveTo>
                <a:cubicBezTo>
                  <a:pt x="3288879" y="83708"/>
                  <a:pt x="3268160" y="25739"/>
                  <a:pt x="3196488" y="21201"/>
                </a:cubicBezTo>
                <a:cubicBezTo>
                  <a:pt x="2907830" y="16005"/>
                  <a:pt x="2618711" y="18197"/>
                  <a:pt x="2329921" y="14777"/>
                </a:cubicBezTo>
                <a:cubicBezTo>
                  <a:pt x="1580495" y="9866"/>
                  <a:pt x="931222" y="0"/>
                  <a:pt x="181841" y="0"/>
                </a:cubicBezTo>
                <a:cubicBezTo>
                  <a:pt x="-44245" y="0"/>
                  <a:pt x="4866" y="162044"/>
                  <a:pt x="3813" y="206244"/>
                </a:cubicBezTo>
                <a:cubicBezTo>
                  <a:pt x="-6272" y="347395"/>
                  <a:pt x="64456" y="394927"/>
                  <a:pt x="198174" y="383395"/>
                </a:cubicBezTo>
                <a:lnTo>
                  <a:pt x="1064019" y="387780"/>
                </a:lnTo>
                <a:lnTo>
                  <a:pt x="2795708" y="396549"/>
                </a:lnTo>
                <a:cubicBezTo>
                  <a:pt x="2909277" y="397119"/>
                  <a:pt x="3023284" y="400671"/>
                  <a:pt x="3136832" y="398128"/>
                </a:cubicBezTo>
                <a:cubicBezTo>
                  <a:pt x="3275790" y="400627"/>
                  <a:pt x="3299512" y="257767"/>
                  <a:pt x="3288221" y="14689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50" name="CustomShape 3"/>
          <p:cNvSpPr/>
          <p:nvPr/>
        </p:nvSpPr>
        <p:spPr>
          <a:xfrm>
            <a:off x="368280" y="422280"/>
            <a:ext cx="8379360" cy="4302360"/>
          </a:xfrm>
          <a:custGeom>
            <a:avLst/>
            <a:gdLst/>
            <a:ahLst/>
            <a:cxnLst/>
            <a:rect l="l" t="t" r="r" b="b"/>
            <a:pathLst>
              <a:path w="3971497" h="2039137">
                <a:moveTo>
                  <a:pt x="3947725" y="299512"/>
                </a:moveTo>
                <a:cubicBezTo>
                  <a:pt x="3924134" y="113307"/>
                  <a:pt x="3885284" y="33501"/>
                  <a:pt x="3686450" y="8902"/>
                </a:cubicBezTo>
                <a:cubicBezTo>
                  <a:pt x="3601997" y="-3398"/>
                  <a:pt x="3538196" y="330"/>
                  <a:pt x="3453085" y="1250"/>
                </a:cubicBezTo>
                <a:cubicBezTo>
                  <a:pt x="2545650" y="21443"/>
                  <a:pt x="1638390" y="51765"/>
                  <a:pt x="731371" y="878"/>
                </a:cubicBezTo>
                <a:cubicBezTo>
                  <a:pt x="642467" y="-87"/>
                  <a:pt x="553519" y="1250"/>
                  <a:pt x="464769" y="6534"/>
                </a:cubicBezTo>
                <a:cubicBezTo>
                  <a:pt x="385183" y="11292"/>
                  <a:pt x="302374" y="15304"/>
                  <a:pt x="224563" y="33743"/>
                </a:cubicBezTo>
                <a:cubicBezTo>
                  <a:pt x="159908" y="49090"/>
                  <a:pt x="106653" y="83204"/>
                  <a:pt x="86570" y="149329"/>
                </a:cubicBezTo>
                <a:cubicBezTo>
                  <a:pt x="9067" y="671747"/>
                  <a:pt x="-7925" y="1209227"/>
                  <a:pt x="2994" y="1737127"/>
                </a:cubicBezTo>
                <a:cubicBezTo>
                  <a:pt x="7729" y="2035301"/>
                  <a:pt x="225024" y="2012784"/>
                  <a:pt x="454881" y="2012828"/>
                </a:cubicBezTo>
                <a:cubicBezTo>
                  <a:pt x="1452075" y="2021379"/>
                  <a:pt x="2463170" y="2030543"/>
                  <a:pt x="3459136" y="2039138"/>
                </a:cubicBezTo>
                <a:cubicBezTo>
                  <a:pt x="3468432" y="2039138"/>
                  <a:pt x="3468235" y="2024426"/>
                  <a:pt x="3458544" y="2024339"/>
                </a:cubicBezTo>
                <a:cubicBezTo>
                  <a:pt x="2395752" y="2013552"/>
                  <a:pt x="1331030" y="2008487"/>
                  <a:pt x="268237" y="1995157"/>
                </a:cubicBezTo>
                <a:cubicBezTo>
                  <a:pt x="201871" y="1991167"/>
                  <a:pt x="129981" y="1978933"/>
                  <a:pt x="80870" y="1929997"/>
                </a:cubicBezTo>
                <a:cubicBezTo>
                  <a:pt x="27856" y="1877181"/>
                  <a:pt x="19898" y="1797332"/>
                  <a:pt x="17289" y="1726406"/>
                </a:cubicBezTo>
                <a:cubicBezTo>
                  <a:pt x="11150" y="1553355"/>
                  <a:pt x="12904" y="1379647"/>
                  <a:pt x="17289" y="1206596"/>
                </a:cubicBezTo>
                <a:cubicBezTo>
                  <a:pt x="24962" y="897125"/>
                  <a:pt x="46317" y="588368"/>
                  <a:pt x="81352" y="280328"/>
                </a:cubicBezTo>
                <a:cubicBezTo>
                  <a:pt x="89990" y="206026"/>
                  <a:pt x="89333" y="112868"/>
                  <a:pt x="163591" y="71825"/>
                </a:cubicBezTo>
                <a:cubicBezTo>
                  <a:pt x="194285" y="54286"/>
                  <a:pt x="229825" y="46349"/>
                  <a:pt x="264444" y="40978"/>
                </a:cubicBezTo>
                <a:cubicBezTo>
                  <a:pt x="347341" y="28174"/>
                  <a:pt x="431728" y="22408"/>
                  <a:pt x="515502" y="18746"/>
                </a:cubicBezTo>
                <a:cubicBezTo>
                  <a:pt x="692894" y="11029"/>
                  <a:pt x="870483" y="17869"/>
                  <a:pt x="1047743" y="26113"/>
                </a:cubicBezTo>
                <a:cubicBezTo>
                  <a:pt x="1755029" y="63845"/>
                  <a:pt x="2462863" y="37711"/>
                  <a:pt x="3170346" y="20654"/>
                </a:cubicBezTo>
                <a:cubicBezTo>
                  <a:pt x="3346028" y="20478"/>
                  <a:pt x="3500947" y="3289"/>
                  <a:pt x="3675948" y="22605"/>
                </a:cubicBezTo>
                <a:cubicBezTo>
                  <a:pt x="3819576" y="42556"/>
                  <a:pt x="3893001" y="73821"/>
                  <a:pt x="3920034" y="229880"/>
                </a:cubicBezTo>
                <a:cubicBezTo>
                  <a:pt x="4003348" y="663591"/>
                  <a:pt x="3918609" y="1093707"/>
                  <a:pt x="3926392" y="1543489"/>
                </a:cubicBezTo>
                <a:cubicBezTo>
                  <a:pt x="3926568" y="1553092"/>
                  <a:pt x="3940665" y="1547436"/>
                  <a:pt x="3940490" y="1538337"/>
                </a:cubicBezTo>
                <a:cubicBezTo>
                  <a:pt x="3933321" y="1127383"/>
                  <a:pt x="4008215" y="711694"/>
                  <a:pt x="3947725" y="29951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51" name="PlaceHolder 4"/>
          <p:cNvSpPr>
            <a:spLocks noGrp="1"/>
          </p:cNvSpPr>
          <p:nvPr>
            <p:ph type="title"/>
          </p:nvPr>
        </p:nvSpPr>
        <p:spPr>
          <a:xfrm>
            <a:off x="883440" y="683640"/>
            <a:ext cx="6426000" cy="396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r>
              <a:rPr lang="pt-BR" sz="3400" b="0" strike="noStrike" spc="-1">
                <a:solidFill>
                  <a:srgbClr val="000000"/>
                </a:solidFill>
                <a:latin typeface="Arial"/>
              </a:rPr>
              <a:t>Clique para editar o formato do texto do título</a:t>
            </a:r>
          </a:p>
        </p:txBody>
      </p:sp>
      <p:sp>
        <p:nvSpPr>
          <p:cNvPr id="452" name="PlaceHolder 5"/>
          <p:cNvSpPr>
            <a:spLocks noGrp="1"/>
          </p:cNvSpPr>
          <p:nvPr>
            <p:ph type="body"/>
          </p:nvPr>
        </p:nvSpPr>
        <p:spPr>
          <a:xfrm>
            <a:off x="1188000" y="1506240"/>
            <a:ext cx="6426000" cy="284004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200" b="0" strike="noStrike" spc="-1">
                <a:solidFill>
                  <a:srgbClr val="000000"/>
                </a:solidFill>
                <a:latin typeface="Arial"/>
              </a:rPr>
              <a:t>Clique para editar o formato do texto da estrutura de tópicos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2200" b="0" strike="noStrike" spc="-1">
                <a:solidFill>
                  <a:srgbClr val="000000"/>
                </a:solidFill>
                <a:latin typeface="Arial"/>
              </a:rPr>
              <a:t>2.º nível da estrutura de tópicos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200" b="0" strike="noStrike" spc="-1">
                <a:solidFill>
                  <a:srgbClr val="000000"/>
                </a:solidFill>
                <a:latin typeface="Arial"/>
              </a:rPr>
              <a:t>3.º nível da estrutura de tópicos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2200" b="0" strike="noStrike" spc="-1">
                <a:solidFill>
                  <a:srgbClr val="000000"/>
                </a:solidFill>
                <a:latin typeface="Arial"/>
              </a:rPr>
              <a:t>4.º nível da estrutura de tópicos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200" b="0" strike="noStrike" spc="-1">
                <a:solidFill>
                  <a:srgbClr val="000000"/>
                </a:solidFill>
                <a:latin typeface="Arial"/>
              </a:rPr>
              <a:t>5.º nível da estrutura de tópicos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200" b="0" strike="noStrike" spc="-1">
                <a:solidFill>
                  <a:srgbClr val="000000"/>
                </a:solidFill>
                <a:latin typeface="Arial"/>
              </a:rPr>
              <a:t>6.º nível da estrutura de tópicos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200" b="0" strike="noStrike" spc="-1">
                <a:solidFill>
                  <a:srgbClr val="000000"/>
                </a:solidFill>
                <a:latin typeface="Arial"/>
              </a:rPr>
              <a:t>7.º nível da estrutura de tópicos</a:t>
            </a:r>
          </a:p>
        </p:txBody>
      </p:sp>
      <p:sp>
        <p:nvSpPr>
          <p:cNvPr id="453" name="PlaceHolder 6"/>
          <p:cNvSpPr>
            <a:spLocks noGrp="1"/>
          </p:cNvSpPr>
          <p:nvPr>
            <p:ph type="sldNum"/>
          </p:nvPr>
        </p:nvSpPr>
        <p:spPr>
          <a:xfrm>
            <a:off x="8404200" y="4693320"/>
            <a:ext cx="548280" cy="299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C25EE604-B16E-4C09-8DA9-B57FFF8ABA12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‹nº›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454" name="CustomShape 7"/>
          <p:cNvSpPr/>
          <p:nvPr/>
        </p:nvSpPr>
        <p:spPr>
          <a:xfrm>
            <a:off x="3215520" y="371160"/>
            <a:ext cx="1376640" cy="66600"/>
          </a:xfrm>
          <a:custGeom>
            <a:avLst/>
            <a:gdLst/>
            <a:ahLst/>
            <a:cxnLst/>
            <a:rect l="l" t="t" r="r" b="b"/>
            <a:pathLst>
              <a:path w="652626" h="31710">
                <a:moveTo>
                  <a:pt x="645179" y="13550"/>
                </a:moveTo>
                <a:cubicBezTo>
                  <a:pt x="432971" y="20774"/>
                  <a:pt x="220527" y="16258"/>
                  <a:pt x="8819" y="23"/>
                </a:cubicBezTo>
                <a:cubicBezTo>
                  <a:pt x="-280" y="-657"/>
                  <a:pt x="-3941" y="13989"/>
                  <a:pt x="5662" y="14712"/>
                </a:cubicBezTo>
                <a:cubicBezTo>
                  <a:pt x="218646" y="31045"/>
                  <a:pt x="432371" y="35612"/>
                  <a:pt x="645859" y="28393"/>
                </a:cubicBezTo>
                <a:cubicBezTo>
                  <a:pt x="655067" y="28043"/>
                  <a:pt x="654914" y="13178"/>
                  <a:pt x="645179" y="1355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55" name="CustomShape 8"/>
          <p:cNvSpPr/>
          <p:nvPr/>
        </p:nvSpPr>
        <p:spPr>
          <a:xfrm>
            <a:off x="4695120" y="404640"/>
            <a:ext cx="263520" cy="30960"/>
          </a:xfrm>
          <a:custGeom>
            <a:avLst/>
            <a:gdLst/>
            <a:ahLst/>
            <a:cxnLst/>
            <a:rect l="l" t="t" r="r" b="b"/>
            <a:pathLst>
              <a:path w="125099" h="14799">
                <a:moveTo>
                  <a:pt x="117661" y="0"/>
                </a:moveTo>
                <a:lnTo>
                  <a:pt x="6833" y="0"/>
                </a:lnTo>
                <a:cubicBezTo>
                  <a:pt x="-2463" y="0"/>
                  <a:pt x="-2288" y="14799"/>
                  <a:pt x="7446" y="14799"/>
                </a:cubicBezTo>
                <a:lnTo>
                  <a:pt x="118275" y="14799"/>
                </a:lnTo>
                <a:cubicBezTo>
                  <a:pt x="127571" y="14887"/>
                  <a:pt x="127374" y="0"/>
                  <a:pt x="117661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56" name="CustomShape 9"/>
          <p:cNvSpPr/>
          <p:nvPr/>
        </p:nvSpPr>
        <p:spPr>
          <a:xfrm>
            <a:off x="8371440" y="397440"/>
            <a:ext cx="290160" cy="230760"/>
          </a:xfrm>
          <a:custGeom>
            <a:avLst/>
            <a:gdLst/>
            <a:ahLst/>
            <a:cxnLst/>
            <a:rect l="l" t="t" r="r" b="b"/>
            <a:pathLst>
              <a:path w="137618" h="109585">
                <a:moveTo>
                  <a:pt x="136999" y="99882"/>
                </a:moveTo>
                <a:cubicBezTo>
                  <a:pt x="113869" y="47085"/>
                  <a:pt x="65635" y="9548"/>
                  <a:pt x="8785" y="104"/>
                </a:cubicBezTo>
                <a:cubicBezTo>
                  <a:pt x="-292" y="-1365"/>
                  <a:pt x="-3910" y="13258"/>
                  <a:pt x="5627" y="14771"/>
                </a:cubicBezTo>
                <a:cubicBezTo>
                  <a:pt x="57435" y="23274"/>
                  <a:pt x="101482" y="57237"/>
                  <a:pt x="122902" y="105166"/>
                </a:cubicBezTo>
                <a:cubicBezTo>
                  <a:pt x="126738" y="113936"/>
                  <a:pt x="140705" y="108323"/>
                  <a:pt x="136999" y="9988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57" name="CustomShape 10"/>
          <p:cNvSpPr/>
          <p:nvPr/>
        </p:nvSpPr>
        <p:spPr>
          <a:xfrm>
            <a:off x="244800" y="4094280"/>
            <a:ext cx="745920" cy="775440"/>
          </a:xfrm>
          <a:custGeom>
            <a:avLst/>
            <a:gdLst/>
            <a:ahLst/>
            <a:cxnLst/>
            <a:rect l="l" t="t" r="r" b="b"/>
            <a:pathLst>
              <a:path w="353675" h="367635">
                <a:moveTo>
                  <a:pt x="349850" y="316408"/>
                </a:moveTo>
                <a:cubicBezTo>
                  <a:pt x="344216" y="307967"/>
                  <a:pt x="337265" y="300140"/>
                  <a:pt x="331061" y="292094"/>
                </a:cubicBezTo>
                <a:cubicBezTo>
                  <a:pt x="325295" y="284639"/>
                  <a:pt x="312907" y="293387"/>
                  <a:pt x="318542" y="300688"/>
                </a:cubicBezTo>
                <a:cubicBezTo>
                  <a:pt x="320142" y="302661"/>
                  <a:pt x="330951" y="317022"/>
                  <a:pt x="332574" y="318447"/>
                </a:cubicBezTo>
                <a:cubicBezTo>
                  <a:pt x="270198" y="313689"/>
                  <a:pt x="197781" y="305292"/>
                  <a:pt x="142554" y="274598"/>
                </a:cubicBezTo>
                <a:cubicBezTo>
                  <a:pt x="87348" y="239760"/>
                  <a:pt x="52202" y="175937"/>
                  <a:pt x="31747" y="115404"/>
                </a:cubicBezTo>
                <a:cubicBezTo>
                  <a:pt x="20542" y="80171"/>
                  <a:pt x="14804" y="43432"/>
                  <a:pt x="14733" y="6461"/>
                </a:cubicBezTo>
                <a:cubicBezTo>
                  <a:pt x="14733" y="-3318"/>
                  <a:pt x="-44" y="-1323"/>
                  <a:pt x="0" y="7930"/>
                </a:cubicBezTo>
                <a:cubicBezTo>
                  <a:pt x="1184" y="107971"/>
                  <a:pt x="41065" y="213209"/>
                  <a:pt x="119862" y="277470"/>
                </a:cubicBezTo>
                <a:cubicBezTo>
                  <a:pt x="177501" y="318403"/>
                  <a:pt x="263467" y="328116"/>
                  <a:pt x="332705" y="333158"/>
                </a:cubicBezTo>
                <a:cubicBezTo>
                  <a:pt x="322510" y="340196"/>
                  <a:pt x="316437" y="346182"/>
                  <a:pt x="307470" y="353702"/>
                </a:cubicBezTo>
                <a:cubicBezTo>
                  <a:pt x="300301" y="359863"/>
                  <a:pt x="307821" y="372250"/>
                  <a:pt x="315275" y="365848"/>
                </a:cubicBezTo>
                <a:lnTo>
                  <a:pt x="340028" y="344647"/>
                </a:lnTo>
                <a:cubicBezTo>
                  <a:pt x="350048" y="337171"/>
                  <a:pt x="359037" y="328927"/>
                  <a:pt x="349850" y="316408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58" name="CustomShape 11"/>
          <p:cNvSpPr/>
          <p:nvPr/>
        </p:nvSpPr>
        <p:spPr>
          <a:xfrm>
            <a:off x="8578440" y="2957400"/>
            <a:ext cx="200520" cy="172440"/>
          </a:xfrm>
          <a:custGeom>
            <a:avLst/>
            <a:gdLst/>
            <a:ahLst/>
            <a:cxnLst/>
            <a:rect l="l" t="t" r="r" b="b"/>
            <a:pathLst>
              <a:path w="95214" h="81892">
                <a:moveTo>
                  <a:pt x="92489" y="65480"/>
                </a:moveTo>
                <a:lnTo>
                  <a:pt x="61028" y="43753"/>
                </a:lnTo>
                <a:cubicBezTo>
                  <a:pt x="70521" y="33157"/>
                  <a:pt x="80036" y="22580"/>
                  <a:pt x="89530" y="12028"/>
                </a:cubicBezTo>
                <a:cubicBezTo>
                  <a:pt x="96107" y="4771"/>
                  <a:pt x="85145" y="-4635"/>
                  <a:pt x="78567" y="2600"/>
                </a:cubicBezTo>
                <a:lnTo>
                  <a:pt x="48991" y="35487"/>
                </a:lnTo>
                <a:lnTo>
                  <a:pt x="12684" y="10383"/>
                </a:lnTo>
                <a:cubicBezTo>
                  <a:pt x="5098" y="5144"/>
                  <a:pt x="-4856" y="16610"/>
                  <a:pt x="2687" y="21872"/>
                </a:cubicBezTo>
                <a:lnTo>
                  <a:pt x="38796" y="46844"/>
                </a:lnTo>
                <a:lnTo>
                  <a:pt x="18275" y="69865"/>
                </a:lnTo>
                <a:cubicBezTo>
                  <a:pt x="11697" y="77122"/>
                  <a:pt x="22660" y="86527"/>
                  <a:pt x="29237" y="79292"/>
                </a:cubicBezTo>
                <a:lnTo>
                  <a:pt x="50942" y="55175"/>
                </a:lnTo>
                <a:lnTo>
                  <a:pt x="82601" y="77100"/>
                </a:lnTo>
                <a:cubicBezTo>
                  <a:pt x="90078" y="82296"/>
                  <a:pt x="100119" y="70829"/>
                  <a:pt x="92489" y="6548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59" name="CustomShape 12"/>
          <p:cNvSpPr/>
          <p:nvPr/>
        </p:nvSpPr>
        <p:spPr>
          <a:xfrm>
            <a:off x="4853880" y="4607280"/>
            <a:ext cx="851400" cy="154800"/>
          </a:xfrm>
          <a:custGeom>
            <a:avLst/>
            <a:gdLst/>
            <a:ahLst/>
            <a:cxnLst/>
            <a:rect l="l" t="t" r="r" b="b"/>
            <a:pathLst>
              <a:path w="403625" h="73536">
                <a:moveTo>
                  <a:pt x="402034" y="57995"/>
                </a:moveTo>
                <a:cubicBezTo>
                  <a:pt x="349920" y="-4643"/>
                  <a:pt x="347223" y="-12273"/>
                  <a:pt x="293815" y="54948"/>
                </a:cubicBezTo>
                <a:cubicBezTo>
                  <a:pt x="244682" y="-17404"/>
                  <a:pt x="251829" y="2986"/>
                  <a:pt x="191361" y="49225"/>
                </a:cubicBezTo>
                <a:cubicBezTo>
                  <a:pt x="145320" y="-15189"/>
                  <a:pt x="150911" y="-15343"/>
                  <a:pt x="96669" y="42648"/>
                </a:cubicBezTo>
                <a:cubicBezTo>
                  <a:pt x="86321" y="25893"/>
                  <a:pt x="71785" y="12113"/>
                  <a:pt x="54508" y="2657"/>
                </a:cubicBezTo>
                <a:cubicBezTo>
                  <a:pt x="43897" y="-1442"/>
                  <a:pt x="13290" y="41442"/>
                  <a:pt x="2152" y="49554"/>
                </a:cubicBezTo>
                <a:cubicBezTo>
                  <a:pt x="-4644" y="56548"/>
                  <a:pt x="6230" y="65932"/>
                  <a:pt x="12983" y="58982"/>
                </a:cubicBezTo>
                <a:lnTo>
                  <a:pt x="52009" y="18838"/>
                </a:lnTo>
                <a:cubicBezTo>
                  <a:pt x="82462" y="34426"/>
                  <a:pt x="86825" y="72531"/>
                  <a:pt x="100243" y="59552"/>
                </a:cubicBezTo>
                <a:lnTo>
                  <a:pt x="120852" y="38307"/>
                </a:lnTo>
                <a:cubicBezTo>
                  <a:pt x="130455" y="27871"/>
                  <a:pt x="145298" y="3447"/>
                  <a:pt x="155800" y="26621"/>
                </a:cubicBezTo>
                <a:cubicBezTo>
                  <a:pt x="197105" y="84085"/>
                  <a:pt x="181473" y="72663"/>
                  <a:pt x="233785" y="33330"/>
                </a:cubicBezTo>
                <a:cubicBezTo>
                  <a:pt x="249659" y="14036"/>
                  <a:pt x="257223" y="29405"/>
                  <a:pt x="267264" y="44731"/>
                </a:cubicBezTo>
                <a:lnTo>
                  <a:pt x="286843" y="71040"/>
                </a:lnTo>
                <a:cubicBezTo>
                  <a:pt x="300195" y="86058"/>
                  <a:pt x="326855" y="28594"/>
                  <a:pt x="341106" y="23990"/>
                </a:cubicBezTo>
                <a:cubicBezTo>
                  <a:pt x="357462" y="17522"/>
                  <a:pt x="377238" y="56614"/>
                  <a:pt x="389493" y="66611"/>
                </a:cubicBezTo>
                <a:cubicBezTo>
                  <a:pt x="395632" y="73671"/>
                  <a:pt x="408020" y="64945"/>
                  <a:pt x="402034" y="57995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60" name="CustomShape 13"/>
          <p:cNvSpPr/>
          <p:nvPr/>
        </p:nvSpPr>
        <p:spPr>
          <a:xfrm>
            <a:off x="8526240" y="347400"/>
            <a:ext cx="132120" cy="90720"/>
          </a:xfrm>
          <a:custGeom>
            <a:avLst/>
            <a:gdLst/>
            <a:ahLst/>
            <a:cxnLst/>
            <a:rect l="l" t="t" r="r" b="b"/>
            <a:pathLst>
              <a:path w="62762" h="43243">
                <a:moveTo>
                  <a:pt x="60351" y="30032"/>
                </a:moveTo>
                <a:cubicBezTo>
                  <a:pt x="45705" y="17367"/>
                  <a:pt x="28955" y="7372"/>
                  <a:pt x="10845" y="500"/>
                </a:cubicBezTo>
                <a:cubicBezTo>
                  <a:pt x="2273" y="-2745"/>
                  <a:pt x="-4765" y="10739"/>
                  <a:pt x="4092" y="14093"/>
                </a:cubicBezTo>
                <a:cubicBezTo>
                  <a:pt x="20996" y="20446"/>
                  <a:pt x="36672" y="29731"/>
                  <a:pt x="50353" y="41521"/>
                </a:cubicBezTo>
                <a:cubicBezTo>
                  <a:pt x="57413" y="47594"/>
                  <a:pt x="67410" y="36127"/>
                  <a:pt x="60351" y="3003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CustomShape 1"/>
          <p:cNvSpPr/>
          <p:nvPr/>
        </p:nvSpPr>
        <p:spPr>
          <a:xfrm rot="20715000">
            <a:off x="7997040" y="3564720"/>
            <a:ext cx="912600" cy="928080"/>
          </a:xfrm>
          <a:custGeom>
            <a:avLst/>
            <a:gdLst/>
            <a:ahLst/>
            <a:cxnLst/>
            <a:rect l="l" t="t" r="r" b="b"/>
            <a:pathLst>
              <a:path w="549996" h="559316">
                <a:moveTo>
                  <a:pt x="536665" y="198722"/>
                </a:moveTo>
                <a:cubicBezTo>
                  <a:pt x="507988" y="55467"/>
                  <a:pt x="324589" y="-49573"/>
                  <a:pt x="179295" y="24291"/>
                </a:cubicBezTo>
                <a:cubicBezTo>
                  <a:pt x="17974" y="106420"/>
                  <a:pt x="-81169" y="375917"/>
                  <a:pt x="88111" y="512244"/>
                </a:cubicBezTo>
                <a:cubicBezTo>
                  <a:pt x="141168" y="554536"/>
                  <a:pt x="210888" y="558504"/>
                  <a:pt x="276092" y="557584"/>
                </a:cubicBezTo>
                <a:cubicBezTo>
                  <a:pt x="484178" y="579947"/>
                  <a:pt x="588999" y="381814"/>
                  <a:pt x="536665" y="19872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98" name="CustomShape 2"/>
          <p:cNvSpPr/>
          <p:nvPr/>
        </p:nvSpPr>
        <p:spPr>
          <a:xfrm>
            <a:off x="642600" y="331920"/>
            <a:ext cx="6942960" cy="927360"/>
          </a:xfrm>
          <a:custGeom>
            <a:avLst/>
            <a:gdLst/>
            <a:ahLst/>
            <a:cxnLst/>
            <a:rect l="l" t="t" r="r" b="b"/>
            <a:pathLst>
              <a:path w="3290684" h="399035">
                <a:moveTo>
                  <a:pt x="3288221" y="146895"/>
                </a:moveTo>
                <a:cubicBezTo>
                  <a:pt x="3288879" y="83708"/>
                  <a:pt x="3268160" y="25739"/>
                  <a:pt x="3196488" y="21201"/>
                </a:cubicBezTo>
                <a:cubicBezTo>
                  <a:pt x="2907830" y="16005"/>
                  <a:pt x="2618711" y="18197"/>
                  <a:pt x="2329921" y="14777"/>
                </a:cubicBezTo>
                <a:cubicBezTo>
                  <a:pt x="1580495" y="9866"/>
                  <a:pt x="931222" y="0"/>
                  <a:pt x="181841" y="0"/>
                </a:cubicBezTo>
                <a:cubicBezTo>
                  <a:pt x="-44245" y="0"/>
                  <a:pt x="4866" y="162044"/>
                  <a:pt x="3813" y="206244"/>
                </a:cubicBezTo>
                <a:cubicBezTo>
                  <a:pt x="-6272" y="347395"/>
                  <a:pt x="64456" y="394927"/>
                  <a:pt x="198174" y="383395"/>
                </a:cubicBezTo>
                <a:lnTo>
                  <a:pt x="1064019" y="387780"/>
                </a:lnTo>
                <a:lnTo>
                  <a:pt x="2795708" y="396549"/>
                </a:lnTo>
                <a:cubicBezTo>
                  <a:pt x="2909277" y="397119"/>
                  <a:pt x="3023284" y="400671"/>
                  <a:pt x="3136832" y="398128"/>
                </a:cubicBezTo>
                <a:cubicBezTo>
                  <a:pt x="3275790" y="400627"/>
                  <a:pt x="3299512" y="257767"/>
                  <a:pt x="3288221" y="14689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99" name="CustomShape 3"/>
          <p:cNvSpPr/>
          <p:nvPr/>
        </p:nvSpPr>
        <p:spPr>
          <a:xfrm>
            <a:off x="368280" y="422280"/>
            <a:ext cx="8379360" cy="4302360"/>
          </a:xfrm>
          <a:custGeom>
            <a:avLst/>
            <a:gdLst/>
            <a:ahLst/>
            <a:cxnLst/>
            <a:rect l="l" t="t" r="r" b="b"/>
            <a:pathLst>
              <a:path w="3971497" h="2039137">
                <a:moveTo>
                  <a:pt x="3947725" y="299512"/>
                </a:moveTo>
                <a:cubicBezTo>
                  <a:pt x="3924134" y="113307"/>
                  <a:pt x="3885284" y="33501"/>
                  <a:pt x="3686450" y="8902"/>
                </a:cubicBezTo>
                <a:cubicBezTo>
                  <a:pt x="3601997" y="-3398"/>
                  <a:pt x="3538196" y="330"/>
                  <a:pt x="3453085" y="1250"/>
                </a:cubicBezTo>
                <a:cubicBezTo>
                  <a:pt x="2545650" y="21443"/>
                  <a:pt x="1638390" y="51765"/>
                  <a:pt x="731371" y="878"/>
                </a:cubicBezTo>
                <a:cubicBezTo>
                  <a:pt x="642467" y="-87"/>
                  <a:pt x="553519" y="1250"/>
                  <a:pt x="464769" y="6534"/>
                </a:cubicBezTo>
                <a:cubicBezTo>
                  <a:pt x="385183" y="11292"/>
                  <a:pt x="302374" y="15304"/>
                  <a:pt x="224563" y="33743"/>
                </a:cubicBezTo>
                <a:cubicBezTo>
                  <a:pt x="159908" y="49090"/>
                  <a:pt x="106653" y="83204"/>
                  <a:pt x="86570" y="149329"/>
                </a:cubicBezTo>
                <a:cubicBezTo>
                  <a:pt x="9067" y="671747"/>
                  <a:pt x="-7925" y="1209227"/>
                  <a:pt x="2994" y="1737127"/>
                </a:cubicBezTo>
                <a:cubicBezTo>
                  <a:pt x="7729" y="2035301"/>
                  <a:pt x="225024" y="2012784"/>
                  <a:pt x="454881" y="2012828"/>
                </a:cubicBezTo>
                <a:cubicBezTo>
                  <a:pt x="1452075" y="2021379"/>
                  <a:pt x="2463170" y="2030543"/>
                  <a:pt x="3459136" y="2039138"/>
                </a:cubicBezTo>
                <a:cubicBezTo>
                  <a:pt x="3468432" y="2039138"/>
                  <a:pt x="3468235" y="2024426"/>
                  <a:pt x="3458544" y="2024339"/>
                </a:cubicBezTo>
                <a:cubicBezTo>
                  <a:pt x="2395752" y="2013552"/>
                  <a:pt x="1331030" y="2008487"/>
                  <a:pt x="268237" y="1995157"/>
                </a:cubicBezTo>
                <a:cubicBezTo>
                  <a:pt x="201871" y="1991167"/>
                  <a:pt x="129981" y="1978933"/>
                  <a:pt x="80870" y="1929997"/>
                </a:cubicBezTo>
                <a:cubicBezTo>
                  <a:pt x="27856" y="1877181"/>
                  <a:pt x="19898" y="1797332"/>
                  <a:pt x="17289" y="1726406"/>
                </a:cubicBezTo>
                <a:cubicBezTo>
                  <a:pt x="11150" y="1553355"/>
                  <a:pt x="12904" y="1379647"/>
                  <a:pt x="17289" y="1206596"/>
                </a:cubicBezTo>
                <a:cubicBezTo>
                  <a:pt x="24962" y="897125"/>
                  <a:pt x="46317" y="588368"/>
                  <a:pt x="81352" y="280328"/>
                </a:cubicBezTo>
                <a:cubicBezTo>
                  <a:pt x="89990" y="206026"/>
                  <a:pt x="89333" y="112868"/>
                  <a:pt x="163591" y="71825"/>
                </a:cubicBezTo>
                <a:cubicBezTo>
                  <a:pt x="194285" y="54286"/>
                  <a:pt x="229825" y="46349"/>
                  <a:pt x="264444" y="40978"/>
                </a:cubicBezTo>
                <a:cubicBezTo>
                  <a:pt x="347341" y="28174"/>
                  <a:pt x="431728" y="22408"/>
                  <a:pt x="515502" y="18746"/>
                </a:cubicBezTo>
                <a:cubicBezTo>
                  <a:pt x="692894" y="11029"/>
                  <a:pt x="870483" y="17869"/>
                  <a:pt x="1047743" y="26113"/>
                </a:cubicBezTo>
                <a:cubicBezTo>
                  <a:pt x="1755029" y="63845"/>
                  <a:pt x="2462863" y="37711"/>
                  <a:pt x="3170346" y="20654"/>
                </a:cubicBezTo>
                <a:cubicBezTo>
                  <a:pt x="3346028" y="20478"/>
                  <a:pt x="3500947" y="3289"/>
                  <a:pt x="3675948" y="22605"/>
                </a:cubicBezTo>
                <a:cubicBezTo>
                  <a:pt x="3819576" y="42556"/>
                  <a:pt x="3893001" y="73821"/>
                  <a:pt x="3920034" y="229880"/>
                </a:cubicBezTo>
                <a:cubicBezTo>
                  <a:pt x="4003348" y="663591"/>
                  <a:pt x="3918609" y="1093707"/>
                  <a:pt x="3926392" y="1543489"/>
                </a:cubicBezTo>
                <a:cubicBezTo>
                  <a:pt x="3926568" y="1553092"/>
                  <a:pt x="3940665" y="1547436"/>
                  <a:pt x="3940490" y="1538337"/>
                </a:cubicBezTo>
                <a:cubicBezTo>
                  <a:pt x="3933321" y="1127383"/>
                  <a:pt x="4008215" y="711694"/>
                  <a:pt x="3947725" y="29951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00" name="PlaceHolder 4"/>
          <p:cNvSpPr>
            <a:spLocks noGrp="1"/>
          </p:cNvSpPr>
          <p:nvPr>
            <p:ph type="title"/>
          </p:nvPr>
        </p:nvSpPr>
        <p:spPr>
          <a:xfrm>
            <a:off x="883440" y="683640"/>
            <a:ext cx="6426000" cy="396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r>
              <a:rPr lang="pt-BR" sz="3400" b="0" strike="noStrike" spc="-1">
                <a:solidFill>
                  <a:srgbClr val="000000"/>
                </a:solidFill>
                <a:latin typeface="Arial"/>
              </a:rPr>
              <a:t>Clique para editar o formato do texto do título</a:t>
            </a:r>
          </a:p>
        </p:txBody>
      </p:sp>
      <p:sp>
        <p:nvSpPr>
          <p:cNvPr id="501" name="PlaceHolder 5"/>
          <p:cNvSpPr>
            <a:spLocks noGrp="1"/>
          </p:cNvSpPr>
          <p:nvPr>
            <p:ph type="body"/>
          </p:nvPr>
        </p:nvSpPr>
        <p:spPr>
          <a:xfrm>
            <a:off x="1188000" y="1506240"/>
            <a:ext cx="2001600" cy="278892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Clique para editar o formato do texto da estrutura de tópicos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2.º nível da estrutura de tópicos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3.º nível da estrutura de tópicos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4.º nível da estrutura de tópicos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5.º nível da estrutura de tópicos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6.º nível da estrutura de tópicos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7.º nível da estrutura de tópicos</a:t>
            </a:r>
          </a:p>
        </p:txBody>
      </p:sp>
      <p:sp>
        <p:nvSpPr>
          <p:cNvPr id="502" name="PlaceHolder 6"/>
          <p:cNvSpPr>
            <a:spLocks noGrp="1"/>
          </p:cNvSpPr>
          <p:nvPr>
            <p:ph type="body"/>
          </p:nvPr>
        </p:nvSpPr>
        <p:spPr>
          <a:xfrm>
            <a:off x="3400560" y="1506240"/>
            <a:ext cx="2001600" cy="278892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Clique para editar o formato do texto da estrutura de tópicos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2.º nível da estrutura de tópicos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3.º nível da estrutura de tópicos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4.º nível da estrutura de tópicos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5.º nível da estrutura de tópicos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6.º nível da estrutura de tópicos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7.º nível da estrutura de tópicos</a:t>
            </a:r>
          </a:p>
        </p:txBody>
      </p:sp>
      <p:sp>
        <p:nvSpPr>
          <p:cNvPr id="503" name="PlaceHolder 7"/>
          <p:cNvSpPr>
            <a:spLocks noGrp="1"/>
          </p:cNvSpPr>
          <p:nvPr>
            <p:ph type="body"/>
          </p:nvPr>
        </p:nvSpPr>
        <p:spPr>
          <a:xfrm>
            <a:off x="5612760" y="1506240"/>
            <a:ext cx="2001600" cy="278892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Clique para editar o formato do texto da estrutura de tópicos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2.º nível da estrutura de tópicos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3.º nível da estrutura de tópicos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4.º nível da estrutura de tópicos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5.º nível da estrutura de tópicos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6.º nível da estrutura de tópicos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800" b="0" strike="noStrike" spc="-1">
                <a:solidFill>
                  <a:srgbClr val="000000"/>
                </a:solidFill>
                <a:latin typeface="Arial"/>
              </a:rPr>
              <a:t>7.º nível da estrutura de tópicos</a:t>
            </a:r>
          </a:p>
        </p:txBody>
      </p:sp>
      <p:sp>
        <p:nvSpPr>
          <p:cNvPr id="504" name="PlaceHolder 8"/>
          <p:cNvSpPr>
            <a:spLocks noGrp="1"/>
          </p:cNvSpPr>
          <p:nvPr>
            <p:ph type="sldNum"/>
          </p:nvPr>
        </p:nvSpPr>
        <p:spPr>
          <a:xfrm>
            <a:off x="8404200" y="4693320"/>
            <a:ext cx="548280" cy="299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3257F895-2705-4EC0-9EF8-FE47495F3BC9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‹nº›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505" name="CustomShape 9"/>
          <p:cNvSpPr/>
          <p:nvPr/>
        </p:nvSpPr>
        <p:spPr>
          <a:xfrm rot="10338600">
            <a:off x="8748360" y="1166400"/>
            <a:ext cx="113040" cy="954360"/>
          </a:xfrm>
          <a:custGeom>
            <a:avLst/>
            <a:gdLst/>
            <a:ahLst/>
            <a:cxnLst/>
            <a:rect l="l" t="t" r="r" b="b"/>
            <a:pathLst>
              <a:path w="53711" h="452156">
                <a:moveTo>
                  <a:pt x="39194" y="6047"/>
                </a:moveTo>
                <a:cubicBezTo>
                  <a:pt x="16217" y="151582"/>
                  <a:pt x="8039" y="298805"/>
                  <a:pt x="15" y="445744"/>
                </a:cubicBezTo>
                <a:cubicBezTo>
                  <a:pt x="-533" y="455478"/>
                  <a:pt x="14244" y="453439"/>
                  <a:pt x="14748" y="444275"/>
                </a:cubicBezTo>
                <a:cubicBezTo>
                  <a:pt x="22707" y="298586"/>
                  <a:pt x="30819" y="152678"/>
                  <a:pt x="53598" y="8393"/>
                </a:cubicBezTo>
                <a:cubicBezTo>
                  <a:pt x="55133" y="-1298"/>
                  <a:pt x="40597" y="-3271"/>
                  <a:pt x="39194" y="6047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06" name="CustomShape 10"/>
          <p:cNvSpPr/>
          <p:nvPr/>
        </p:nvSpPr>
        <p:spPr>
          <a:xfrm rot="10338600">
            <a:off x="8873280" y="1615320"/>
            <a:ext cx="80280" cy="398880"/>
          </a:xfrm>
          <a:custGeom>
            <a:avLst/>
            <a:gdLst/>
            <a:ahLst/>
            <a:cxnLst/>
            <a:rect l="l" t="t" r="r" b="b"/>
            <a:pathLst>
              <a:path w="38122" h="189118">
                <a:moveTo>
                  <a:pt x="23673" y="6072"/>
                </a:moveTo>
                <a:cubicBezTo>
                  <a:pt x="15809" y="64288"/>
                  <a:pt x="7945" y="122498"/>
                  <a:pt x="82" y="180701"/>
                </a:cubicBezTo>
                <a:cubicBezTo>
                  <a:pt x="-1212" y="190414"/>
                  <a:pt x="13237" y="192409"/>
                  <a:pt x="14486" y="183047"/>
                </a:cubicBezTo>
                <a:cubicBezTo>
                  <a:pt x="22364" y="124844"/>
                  <a:pt x="30213" y="66634"/>
                  <a:pt x="38033" y="8418"/>
                </a:cubicBezTo>
                <a:cubicBezTo>
                  <a:pt x="39393" y="-1295"/>
                  <a:pt x="24879" y="-3290"/>
                  <a:pt x="23673" y="607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07" name="CustomShape 11"/>
          <p:cNvSpPr/>
          <p:nvPr/>
        </p:nvSpPr>
        <p:spPr>
          <a:xfrm>
            <a:off x="3152160" y="381240"/>
            <a:ext cx="887760" cy="61200"/>
          </a:xfrm>
          <a:custGeom>
            <a:avLst/>
            <a:gdLst/>
            <a:ahLst/>
            <a:cxnLst/>
            <a:rect l="l" t="t" r="r" b="b"/>
            <a:pathLst>
              <a:path w="420923" h="29142">
                <a:moveTo>
                  <a:pt x="413489" y="13189"/>
                </a:moveTo>
                <a:cubicBezTo>
                  <a:pt x="278455" y="16526"/>
                  <a:pt x="143334" y="12132"/>
                  <a:pt x="8805" y="34"/>
                </a:cubicBezTo>
                <a:cubicBezTo>
                  <a:pt x="-293" y="-799"/>
                  <a:pt x="-3933" y="13847"/>
                  <a:pt x="5670" y="14702"/>
                </a:cubicBezTo>
                <a:cubicBezTo>
                  <a:pt x="141449" y="26940"/>
                  <a:pt x="277798" y="31404"/>
                  <a:pt x="414081" y="28076"/>
                </a:cubicBezTo>
                <a:cubicBezTo>
                  <a:pt x="423377" y="27769"/>
                  <a:pt x="423223" y="12970"/>
                  <a:pt x="413489" y="13189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08" name="CustomShape 12"/>
          <p:cNvSpPr/>
          <p:nvPr/>
        </p:nvSpPr>
        <p:spPr>
          <a:xfrm>
            <a:off x="4094280" y="411840"/>
            <a:ext cx="86400" cy="30960"/>
          </a:xfrm>
          <a:custGeom>
            <a:avLst/>
            <a:gdLst/>
            <a:ahLst/>
            <a:cxnLst/>
            <a:rect l="l" t="t" r="r" b="b"/>
            <a:pathLst>
              <a:path w="41180" h="14777">
                <a:moveTo>
                  <a:pt x="33693" y="0"/>
                </a:moveTo>
                <a:lnTo>
                  <a:pt x="6835" y="0"/>
                </a:lnTo>
                <a:cubicBezTo>
                  <a:pt x="-2461" y="0"/>
                  <a:pt x="-2286" y="14777"/>
                  <a:pt x="7427" y="14777"/>
                </a:cubicBezTo>
                <a:lnTo>
                  <a:pt x="34307" y="14777"/>
                </a:lnTo>
                <a:cubicBezTo>
                  <a:pt x="43669" y="14777"/>
                  <a:pt x="43471" y="0"/>
                  <a:pt x="33693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09" name="CustomShape 13"/>
          <p:cNvSpPr/>
          <p:nvPr/>
        </p:nvSpPr>
        <p:spPr>
          <a:xfrm>
            <a:off x="4264200" y="411480"/>
            <a:ext cx="299520" cy="40320"/>
          </a:xfrm>
          <a:custGeom>
            <a:avLst/>
            <a:gdLst/>
            <a:ahLst/>
            <a:cxnLst/>
            <a:rect l="l" t="t" r="r" b="b"/>
            <a:pathLst>
              <a:path w="142051" h="19280">
                <a:moveTo>
                  <a:pt x="136384" y="4500"/>
                </a:moveTo>
                <a:lnTo>
                  <a:pt x="8783" y="5"/>
                </a:lnTo>
                <a:cubicBezTo>
                  <a:pt x="-272" y="-323"/>
                  <a:pt x="-3933" y="14344"/>
                  <a:pt x="5648" y="14695"/>
                </a:cubicBezTo>
                <a:lnTo>
                  <a:pt x="133227" y="19277"/>
                </a:lnTo>
                <a:cubicBezTo>
                  <a:pt x="142282" y="19518"/>
                  <a:pt x="146031" y="4851"/>
                  <a:pt x="136384" y="450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10" name="CustomShape 14"/>
          <p:cNvSpPr/>
          <p:nvPr/>
        </p:nvSpPr>
        <p:spPr>
          <a:xfrm rot="5534400">
            <a:off x="22320" y="3409200"/>
            <a:ext cx="681120" cy="214200"/>
          </a:xfrm>
          <a:custGeom>
            <a:avLst/>
            <a:gdLst/>
            <a:ahLst/>
            <a:cxnLst/>
            <a:rect l="l" t="t" r="r" b="b"/>
            <a:pathLst>
              <a:path w="322772" h="101579">
                <a:moveTo>
                  <a:pt x="308867" y="12831"/>
                </a:moveTo>
                <a:cubicBezTo>
                  <a:pt x="298146" y="35457"/>
                  <a:pt x="274994" y="116227"/>
                  <a:pt x="241691" y="74877"/>
                </a:cubicBezTo>
                <a:cubicBezTo>
                  <a:pt x="226606" y="51615"/>
                  <a:pt x="229566" y="5595"/>
                  <a:pt x="194224" y="334"/>
                </a:cubicBezTo>
                <a:cubicBezTo>
                  <a:pt x="178877" y="-1990"/>
                  <a:pt x="165349" y="8161"/>
                  <a:pt x="157325" y="20460"/>
                </a:cubicBezTo>
                <a:cubicBezTo>
                  <a:pt x="146363" y="37211"/>
                  <a:pt x="147130" y="60538"/>
                  <a:pt x="133361" y="75425"/>
                </a:cubicBezTo>
                <a:cubicBezTo>
                  <a:pt x="125907" y="83493"/>
                  <a:pt x="113761" y="87221"/>
                  <a:pt x="105692" y="77925"/>
                </a:cubicBezTo>
                <a:cubicBezTo>
                  <a:pt x="91836" y="58697"/>
                  <a:pt x="101308" y="30480"/>
                  <a:pt x="85040" y="12019"/>
                </a:cubicBezTo>
                <a:cubicBezTo>
                  <a:pt x="56538" y="-22380"/>
                  <a:pt x="11110" y="29318"/>
                  <a:pt x="630" y="55386"/>
                </a:cubicBezTo>
                <a:cubicBezTo>
                  <a:pt x="-3009" y="64441"/>
                  <a:pt x="10145" y="70339"/>
                  <a:pt x="13785" y="61415"/>
                </a:cubicBezTo>
                <a:cubicBezTo>
                  <a:pt x="27992" y="24319"/>
                  <a:pt x="78221" y="-12668"/>
                  <a:pt x="82496" y="51571"/>
                </a:cubicBezTo>
                <a:cubicBezTo>
                  <a:pt x="84097" y="65734"/>
                  <a:pt x="86640" y="82003"/>
                  <a:pt x="98129" y="91803"/>
                </a:cubicBezTo>
                <a:cubicBezTo>
                  <a:pt x="110954" y="102765"/>
                  <a:pt x="128560" y="98863"/>
                  <a:pt x="140355" y="88558"/>
                </a:cubicBezTo>
                <a:cubicBezTo>
                  <a:pt x="155703" y="75184"/>
                  <a:pt x="157632" y="55079"/>
                  <a:pt x="164867" y="37255"/>
                </a:cubicBezTo>
                <a:cubicBezTo>
                  <a:pt x="172102" y="19430"/>
                  <a:pt x="191308" y="5464"/>
                  <a:pt x="205690" y="25086"/>
                </a:cubicBezTo>
                <a:cubicBezTo>
                  <a:pt x="222397" y="47844"/>
                  <a:pt x="217508" y="92066"/>
                  <a:pt x="250965" y="100880"/>
                </a:cubicBezTo>
                <a:cubicBezTo>
                  <a:pt x="294375" y="108729"/>
                  <a:pt x="307464" y="48633"/>
                  <a:pt x="322022" y="18904"/>
                </a:cubicBezTo>
                <a:cubicBezTo>
                  <a:pt x="326034" y="9915"/>
                  <a:pt x="312836" y="4039"/>
                  <a:pt x="308867" y="1283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11" name="CustomShape 15"/>
          <p:cNvSpPr/>
          <p:nvPr/>
        </p:nvSpPr>
        <p:spPr>
          <a:xfrm>
            <a:off x="6091920" y="4766040"/>
            <a:ext cx="880200" cy="46800"/>
          </a:xfrm>
          <a:custGeom>
            <a:avLst/>
            <a:gdLst/>
            <a:ahLst/>
            <a:cxnLst/>
            <a:rect l="l" t="t" r="r" b="b"/>
            <a:pathLst>
              <a:path w="417355" h="22406">
                <a:moveTo>
                  <a:pt x="409929" y="3189"/>
                </a:moveTo>
                <a:lnTo>
                  <a:pt x="209122" y="5951"/>
                </a:lnTo>
                <a:cubicBezTo>
                  <a:pt x="142580" y="6872"/>
                  <a:pt x="74658" y="11476"/>
                  <a:pt x="8775" y="119"/>
                </a:cubicBezTo>
                <a:cubicBezTo>
                  <a:pt x="-302" y="-1459"/>
                  <a:pt x="-3897" y="13142"/>
                  <a:pt x="5618" y="14787"/>
                </a:cubicBezTo>
                <a:cubicBezTo>
                  <a:pt x="71391" y="26122"/>
                  <a:pt x="139029" y="21715"/>
                  <a:pt x="205351" y="20794"/>
                </a:cubicBezTo>
                <a:lnTo>
                  <a:pt x="410521" y="17966"/>
                </a:lnTo>
                <a:cubicBezTo>
                  <a:pt x="419817" y="17747"/>
                  <a:pt x="419641" y="2969"/>
                  <a:pt x="409929" y="3189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12" name="CustomShape 16"/>
          <p:cNvSpPr/>
          <p:nvPr/>
        </p:nvSpPr>
        <p:spPr>
          <a:xfrm>
            <a:off x="6467400" y="4872240"/>
            <a:ext cx="285120" cy="34920"/>
          </a:xfrm>
          <a:custGeom>
            <a:avLst/>
            <a:gdLst/>
            <a:ahLst/>
            <a:cxnLst/>
            <a:rect l="l" t="t" r="r" b="b"/>
            <a:pathLst>
              <a:path w="135256" h="16655">
                <a:moveTo>
                  <a:pt x="129610" y="810"/>
                </a:moveTo>
                <a:cubicBezTo>
                  <a:pt x="88677" y="-549"/>
                  <a:pt x="47766" y="-198"/>
                  <a:pt x="6832" y="1863"/>
                </a:cubicBezTo>
                <a:cubicBezTo>
                  <a:pt x="-2442" y="2345"/>
                  <a:pt x="-2310" y="17210"/>
                  <a:pt x="7446" y="16640"/>
                </a:cubicBezTo>
                <a:cubicBezTo>
                  <a:pt x="47130" y="14601"/>
                  <a:pt x="86835" y="14228"/>
                  <a:pt x="126562" y="15478"/>
                </a:cubicBezTo>
                <a:cubicBezTo>
                  <a:pt x="135507" y="15785"/>
                  <a:pt x="139191" y="1117"/>
                  <a:pt x="129610" y="81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CustomShape 1"/>
          <p:cNvSpPr/>
          <p:nvPr/>
        </p:nvSpPr>
        <p:spPr>
          <a:xfrm rot="20701200">
            <a:off x="739440" y="433440"/>
            <a:ext cx="1461600" cy="1605600"/>
          </a:xfrm>
          <a:custGeom>
            <a:avLst/>
            <a:gdLst/>
            <a:ahLst/>
            <a:cxnLst/>
            <a:rect l="l" t="t" r="r" b="b"/>
            <a:pathLst>
              <a:path w="462239" h="507799">
                <a:moveTo>
                  <a:pt x="459973" y="179541"/>
                </a:moveTo>
                <a:cubicBezTo>
                  <a:pt x="458636" y="122779"/>
                  <a:pt x="461727" y="55887"/>
                  <a:pt x="399242" y="30652"/>
                </a:cubicBezTo>
                <a:cubicBezTo>
                  <a:pt x="293347" y="-13921"/>
                  <a:pt x="170306" y="-1205"/>
                  <a:pt x="59171" y="14844"/>
                </a:cubicBezTo>
                <a:cubicBezTo>
                  <a:pt x="33585" y="19514"/>
                  <a:pt x="9512" y="39816"/>
                  <a:pt x="8569" y="67090"/>
                </a:cubicBezTo>
                <a:cubicBezTo>
                  <a:pt x="-7195" y="174126"/>
                  <a:pt x="2605" y="285590"/>
                  <a:pt x="7933" y="393766"/>
                </a:cubicBezTo>
                <a:cubicBezTo>
                  <a:pt x="10235" y="423781"/>
                  <a:pt x="16703" y="454453"/>
                  <a:pt x="42377" y="473550"/>
                </a:cubicBezTo>
                <a:cubicBezTo>
                  <a:pt x="111527" y="513693"/>
                  <a:pt x="199071" y="505691"/>
                  <a:pt x="276684" y="507664"/>
                </a:cubicBezTo>
                <a:cubicBezTo>
                  <a:pt x="477513" y="513540"/>
                  <a:pt x="465279" y="327137"/>
                  <a:pt x="459973" y="1795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0" name="PlaceHolder 2"/>
          <p:cNvSpPr>
            <a:spLocks noGrp="1"/>
          </p:cNvSpPr>
          <p:nvPr>
            <p:ph type="title"/>
          </p:nvPr>
        </p:nvSpPr>
        <p:spPr>
          <a:xfrm>
            <a:off x="1773360" y="1980000"/>
            <a:ext cx="5596920" cy="67068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/>
          <a:p>
            <a:r>
              <a:rPr lang="pt-BR" sz="5200" b="0" strike="noStrike" spc="-1">
                <a:solidFill>
                  <a:srgbClr val="000000"/>
                </a:solidFill>
                <a:latin typeface="Arial"/>
              </a:rPr>
              <a:t>Clique para editar o formato do texto do título</a:t>
            </a:r>
          </a:p>
        </p:txBody>
      </p:sp>
      <p:sp>
        <p:nvSpPr>
          <p:cNvPr id="51" name="CustomShape 3"/>
          <p:cNvSpPr/>
          <p:nvPr/>
        </p:nvSpPr>
        <p:spPr>
          <a:xfrm>
            <a:off x="794160" y="560160"/>
            <a:ext cx="7398720" cy="3910320"/>
          </a:xfrm>
          <a:custGeom>
            <a:avLst/>
            <a:gdLst/>
            <a:ahLst/>
            <a:cxnLst/>
            <a:rect l="l" t="t" r="r" b="b"/>
            <a:pathLst>
              <a:path w="3506719" h="1853427">
                <a:moveTo>
                  <a:pt x="3499305" y="1166353"/>
                </a:moveTo>
                <a:cubicBezTo>
                  <a:pt x="3487751" y="941889"/>
                  <a:pt x="3482379" y="741016"/>
                  <a:pt x="3468150" y="516750"/>
                </a:cubicBezTo>
                <a:cubicBezTo>
                  <a:pt x="3459578" y="392635"/>
                  <a:pt x="3434540" y="262425"/>
                  <a:pt x="3343926" y="170342"/>
                </a:cubicBezTo>
                <a:cubicBezTo>
                  <a:pt x="3249760" y="74400"/>
                  <a:pt x="3105299" y="78500"/>
                  <a:pt x="2981184" y="57847"/>
                </a:cubicBezTo>
                <a:cubicBezTo>
                  <a:pt x="2181223" y="-47983"/>
                  <a:pt x="1370738" y="7114"/>
                  <a:pt x="571983" y="97465"/>
                </a:cubicBezTo>
                <a:cubicBezTo>
                  <a:pt x="583142" y="79706"/>
                  <a:pt x="597415" y="64118"/>
                  <a:pt x="614122" y="51423"/>
                </a:cubicBezTo>
                <a:cubicBezTo>
                  <a:pt x="621729" y="45657"/>
                  <a:pt x="614122" y="33314"/>
                  <a:pt x="606317" y="39277"/>
                </a:cubicBezTo>
                <a:cubicBezTo>
                  <a:pt x="584019" y="56115"/>
                  <a:pt x="565669" y="77601"/>
                  <a:pt x="552470" y="102223"/>
                </a:cubicBezTo>
                <a:cubicBezTo>
                  <a:pt x="551023" y="104503"/>
                  <a:pt x="551176" y="107419"/>
                  <a:pt x="552843" y="109545"/>
                </a:cubicBezTo>
                <a:cubicBezTo>
                  <a:pt x="552996" y="111124"/>
                  <a:pt x="553654" y="112615"/>
                  <a:pt x="554728" y="113799"/>
                </a:cubicBezTo>
                <a:cubicBezTo>
                  <a:pt x="574416" y="135921"/>
                  <a:pt x="597985" y="154271"/>
                  <a:pt x="624273" y="167908"/>
                </a:cubicBezTo>
                <a:cubicBezTo>
                  <a:pt x="632429" y="172162"/>
                  <a:pt x="639401" y="158700"/>
                  <a:pt x="631025" y="154315"/>
                </a:cubicBezTo>
                <a:cubicBezTo>
                  <a:pt x="609956" y="143265"/>
                  <a:pt x="590728" y="129014"/>
                  <a:pt x="574021" y="112067"/>
                </a:cubicBezTo>
                <a:cubicBezTo>
                  <a:pt x="1426426" y="15774"/>
                  <a:pt x="2294047" y="-40901"/>
                  <a:pt x="3145004" y="97048"/>
                </a:cubicBezTo>
                <a:cubicBezTo>
                  <a:pt x="3209331" y="107550"/>
                  <a:pt x="3269536" y="123884"/>
                  <a:pt x="3319414" y="167886"/>
                </a:cubicBezTo>
                <a:cubicBezTo>
                  <a:pt x="3474552" y="310265"/>
                  <a:pt x="3450632" y="540604"/>
                  <a:pt x="3463897" y="732531"/>
                </a:cubicBezTo>
                <a:cubicBezTo>
                  <a:pt x="3470474" y="878856"/>
                  <a:pt x="3477052" y="1001085"/>
                  <a:pt x="3483783" y="1147410"/>
                </a:cubicBezTo>
                <a:cubicBezTo>
                  <a:pt x="3501191" y="1385138"/>
                  <a:pt x="3525965" y="1744218"/>
                  <a:pt x="3230532" y="1813916"/>
                </a:cubicBezTo>
                <a:cubicBezTo>
                  <a:pt x="3161470" y="1826939"/>
                  <a:pt x="3088899" y="1823212"/>
                  <a:pt x="3018938" y="1824396"/>
                </a:cubicBezTo>
                <a:cubicBezTo>
                  <a:pt x="2066294" y="1838384"/>
                  <a:pt x="1110998" y="1858664"/>
                  <a:pt x="159779" y="1795412"/>
                </a:cubicBezTo>
                <a:cubicBezTo>
                  <a:pt x="96198" y="1786642"/>
                  <a:pt x="52897" y="1750883"/>
                  <a:pt x="37988" y="1686381"/>
                </a:cubicBezTo>
                <a:cubicBezTo>
                  <a:pt x="23014" y="1627185"/>
                  <a:pt x="28429" y="1563604"/>
                  <a:pt x="29218" y="1503201"/>
                </a:cubicBezTo>
                <a:cubicBezTo>
                  <a:pt x="32288" y="1285666"/>
                  <a:pt x="37769" y="1068196"/>
                  <a:pt x="45640" y="850771"/>
                </a:cubicBezTo>
                <a:cubicBezTo>
                  <a:pt x="67279" y="849039"/>
                  <a:pt x="84052" y="831170"/>
                  <a:pt x="84403" y="809465"/>
                </a:cubicBezTo>
                <a:cubicBezTo>
                  <a:pt x="84775" y="785085"/>
                  <a:pt x="61119" y="766449"/>
                  <a:pt x="37528" y="771382"/>
                </a:cubicBezTo>
                <a:cubicBezTo>
                  <a:pt x="-10202" y="773070"/>
                  <a:pt x="-12460" y="837024"/>
                  <a:pt x="31082" y="849280"/>
                </a:cubicBezTo>
                <a:cubicBezTo>
                  <a:pt x="22860" y="1075914"/>
                  <a:pt x="17248" y="1302614"/>
                  <a:pt x="14222" y="1529401"/>
                </a:cubicBezTo>
                <a:cubicBezTo>
                  <a:pt x="6724" y="1697563"/>
                  <a:pt x="25184" y="1816372"/>
                  <a:pt x="222900" y="1815955"/>
                </a:cubicBezTo>
                <a:cubicBezTo>
                  <a:pt x="1165853" y="1869451"/>
                  <a:pt x="2110823" y="1854630"/>
                  <a:pt x="3054653" y="1838559"/>
                </a:cubicBezTo>
                <a:cubicBezTo>
                  <a:pt x="3124352" y="1837376"/>
                  <a:pt x="3196834" y="1840752"/>
                  <a:pt x="3264427" y="1820822"/>
                </a:cubicBezTo>
                <a:cubicBezTo>
                  <a:pt x="3445173" y="1765222"/>
                  <a:pt x="3508426" y="1558539"/>
                  <a:pt x="3506606" y="1387089"/>
                </a:cubicBezTo>
                <a:cubicBezTo>
                  <a:pt x="3507527" y="1313642"/>
                  <a:pt x="3502637" y="1239910"/>
                  <a:pt x="3499305" y="1166353"/>
                </a:cubicBezTo>
                <a:close/>
                <a:moveTo>
                  <a:pt x="14683" y="811175"/>
                </a:moveTo>
                <a:cubicBezTo>
                  <a:pt x="12863" y="794424"/>
                  <a:pt x="28933" y="781270"/>
                  <a:pt x="44807" y="788066"/>
                </a:cubicBezTo>
                <a:cubicBezTo>
                  <a:pt x="47241" y="789162"/>
                  <a:pt x="50112" y="788768"/>
                  <a:pt x="52152" y="787036"/>
                </a:cubicBezTo>
                <a:cubicBezTo>
                  <a:pt x="78987" y="795301"/>
                  <a:pt x="73002" y="833713"/>
                  <a:pt x="45815" y="836191"/>
                </a:cubicBezTo>
                <a:cubicBezTo>
                  <a:pt x="30424" y="837594"/>
                  <a:pt x="16656" y="826588"/>
                  <a:pt x="14683" y="81124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2" name="CustomShape 4"/>
          <p:cNvSpPr/>
          <p:nvPr/>
        </p:nvSpPr>
        <p:spPr>
          <a:xfrm rot="4673400">
            <a:off x="7546680" y="3625200"/>
            <a:ext cx="813600" cy="1021680"/>
          </a:xfrm>
          <a:custGeom>
            <a:avLst/>
            <a:gdLst/>
            <a:ahLst/>
            <a:cxnLst/>
            <a:rect l="l" t="t" r="r" b="b"/>
            <a:pathLst>
              <a:path w="385904" h="484587">
                <a:moveTo>
                  <a:pt x="316148" y="219239"/>
                </a:moveTo>
                <a:cubicBezTo>
                  <a:pt x="261491" y="116194"/>
                  <a:pt x="157744" y="32311"/>
                  <a:pt x="38101" y="26786"/>
                </a:cubicBezTo>
                <a:cubicBezTo>
                  <a:pt x="47463" y="22510"/>
                  <a:pt x="56935" y="18432"/>
                  <a:pt x="66471" y="14530"/>
                </a:cubicBezTo>
                <a:cubicBezTo>
                  <a:pt x="75241" y="10978"/>
                  <a:pt x="71273" y="-3010"/>
                  <a:pt x="62086" y="586"/>
                </a:cubicBezTo>
                <a:cubicBezTo>
                  <a:pt x="42552" y="8566"/>
                  <a:pt x="23390" y="17336"/>
                  <a:pt x="4578" y="26895"/>
                </a:cubicBezTo>
                <a:cubicBezTo>
                  <a:pt x="-2854" y="30645"/>
                  <a:pt x="-508" y="42440"/>
                  <a:pt x="6398" y="41585"/>
                </a:cubicBezTo>
                <a:cubicBezTo>
                  <a:pt x="7473" y="41870"/>
                  <a:pt x="8591" y="41957"/>
                  <a:pt x="9709" y="41826"/>
                </a:cubicBezTo>
                <a:cubicBezTo>
                  <a:pt x="22162" y="48710"/>
                  <a:pt x="33190" y="57875"/>
                  <a:pt x="42267" y="68837"/>
                </a:cubicBezTo>
                <a:cubicBezTo>
                  <a:pt x="48231" y="76094"/>
                  <a:pt x="60618" y="67368"/>
                  <a:pt x="54786" y="60265"/>
                </a:cubicBezTo>
                <a:cubicBezTo>
                  <a:pt x="49217" y="53468"/>
                  <a:pt x="42990" y="47241"/>
                  <a:pt x="36216" y="41650"/>
                </a:cubicBezTo>
                <a:cubicBezTo>
                  <a:pt x="257544" y="58730"/>
                  <a:pt x="357411" y="281133"/>
                  <a:pt x="371135" y="478147"/>
                </a:cubicBezTo>
                <a:cubicBezTo>
                  <a:pt x="372034" y="487859"/>
                  <a:pt x="386723" y="485952"/>
                  <a:pt x="385869" y="476678"/>
                </a:cubicBezTo>
                <a:cubicBezTo>
                  <a:pt x="377756" y="387730"/>
                  <a:pt x="358704" y="298409"/>
                  <a:pt x="316148" y="219239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3" name="CustomShape 5"/>
          <p:cNvSpPr/>
          <p:nvPr/>
        </p:nvSpPr>
        <p:spPr>
          <a:xfrm rot="4673400">
            <a:off x="7996680" y="4294440"/>
            <a:ext cx="185400" cy="335520"/>
          </a:xfrm>
          <a:custGeom>
            <a:avLst/>
            <a:gdLst/>
            <a:ahLst/>
            <a:cxnLst/>
            <a:rect l="l" t="t" r="r" b="b"/>
            <a:pathLst>
              <a:path w="88019" h="159157">
                <a:moveTo>
                  <a:pt x="87774" y="149186"/>
                </a:moveTo>
                <a:cubicBezTo>
                  <a:pt x="74290" y="95537"/>
                  <a:pt x="49098" y="45526"/>
                  <a:pt x="14041" y="2730"/>
                </a:cubicBezTo>
                <a:cubicBezTo>
                  <a:pt x="8078" y="-4527"/>
                  <a:pt x="-4309" y="4199"/>
                  <a:pt x="1522" y="11302"/>
                </a:cubicBezTo>
                <a:cubicBezTo>
                  <a:pt x="35835" y="53069"/>
                  <a:pt x="60478" y="101916"/>
                  <a:pt x="73676" y="154338"/>
                </a:cubicBezTo>
                <a:cubicBezTo>
                  <a:pt x="76044" y="163678"/>
                  <a:pt x="90032" y="158065"/>
                  <a:pt x="87774" y="149186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4" name="CustomShape 6"/>
          <p:cNvSpPr/>
          <p:nvPr/>
        </p:nvSpPr>
        <p:spPr>
          <a:xfrm rot="16432200">
            <a:off x="338400" y="3492720"/>
            <a:ext cx="830520" cy="95760"/>
          </a:xfrm>
          <a:custGeom>
            <a:avLst/>
            <a:gdLst/>
            <a:ahLst/>
            <a:cxnLst/>
            <a:rect l="l" t="t" r="r" b="b"/>
            <a:pathLst>
              <a:path w="393896" h="45566">
                <a:moveTo>
                  <a:pt x="386461" y="1"/>
                </a:moveTo>
                <a:cubicBezTo>
                  <a:pt x="259364" y="2172"/>
                  <a:pt x="132531" y="12432"/>
                  <a:pt x="6750" y="30696"/>
                </a:cubicBezTo>
                <a:cubicBezTo>
                  <a:pt x="-2393" y="32011"/>
                  <a:pt x="-2305" y="46876"/>
                  <a:pt x="7364" y="45473"/>
                </a:cubicBezTo>
                <a:cubicBezTo>
                  <a:pt x="133145" y="27210"/>
                  <a:pt x="259978" y="16949"/>
                  <a:pt x="387053" y="14778"/>
                </a:cubicBezTo>
                <a:cubicBezTo>
                  <a:pt x="396349" y="14647"/>
                  <a:pt x="396196" y="-152"/>
                  <a:pt x="386461" y="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5" name="CustomShape 7"/>
          <p:cNvSpPr/>
          <p:nvPr/>
        </p:nvSpPr>
        <p:spPr>
          <a:xfrm rot="16432200">
            <a:off x="613800" y="2873520"/>
            <a:ext cx="277920" cy="42840"/>
          </a:xfrm>
          <a:custGeom>
            <a:avLst/>
            <a:gdLst/>
            <a:ahLst/>
            <a:cxnLst/>
            <a:rect l="l" t="t" r="r" b="b"/>
            <a:pathLst>
              <a:path w="131926" h="20426">
                <a:moveTo>
                  <a:pt x="124504" y="198"/>
                </a:moveTo>
                <a:cubicBezTo>
                  <a:pt x="85193" y="-635"/>
                  <a:pt x="45860" y="1163"/>
                  <a:pt x="6791" y="5570"/>
                </a:cubicBezTo>
                <a:cubicBezTo>
                  <a:pt x="-2417" y="6622"/>
                  <a:pt x="-2308" y="21465"/>
                  <a:pt x="7405" y="20369"/>
                </a:cubicBezTo>
                <a:cubicBezTo>
                  <a:pt x="46474" y="15962"/>
                  <a:pt x="85807" y="14164"/>
                  <a:pt x="125118" y="14997"/>
                </a:cubicBezTo>
                <a:cubicBezTo>
                  <a:pt x="134392" y="15194"/>
                  <a:pt x="134195" y="417"/>
                  <a:pt x="124504" y="198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6" name="CustomShape 8"/>
          <p:cNvSpPr/>
          <p:nvPr/>
        </p:nvSpPr>
        <p:spPr>
          <a:xfrm>
            <a:off x="5262120" y="462240"/>
            <a:ext cx="680760" cy="213840"/>
          </a:xfrm>
          <a:custGeom>
            <a:avLst/>
            <a:gdLst/>
            <a:ahLst/>
            <a:cxnLst/>
            <a:rect l="l" t="t" r="r" b="b"/>
            <a:pathLst>
              <a:path w="322772" h="101579">
                <a:moveTo>
                  <a:pt x="308867" y="12831"/>
                </a:moveTo>
                <a:cubicBezTo>
                  <a:pt x="298146" y="35457"/>
                  <a:pt x="274994" y="116227"/>
                  <a:pt x="241691" y="74877"/>
                </a:cubicBezTo>
                <a:cubicBezTo>
                  <a:pt x="226606" y="51615"/>
                  <a:pt x="229566" y="5595"/>
                  <a:pt x="194224" y="334"/>
                </a:cubicBezTo>
                <a:cubicBezTo>
                  <a:pt x="178877" y="-1990"/>
                  <a:pt x="165349" y="8161"/>
                  <a:pt x="157325" y="20460"/>
                </a:cubicBezTo>
                <a:cubicBezTo>
                  <a:pt x="146363" y="37211"/>
                  <a:pt x="147130" y="60538"/>
                  <a:pt x="133361" y="75425"/>
                </a:cubicBezTo>
                <a:cubicBezTo>
                  <a:pt x="125907" y="83493"/>
                  <a:pt x="113761" y="87221"/>
                  <a:pt x="105692" y="77925"/>
                </a:cubicBezTo>
                <a:cubicBezTo>
                  <a:pt x="91836" y="58697"/>
                  <a:pt x="101308" y="30480"/>
                  <a:pt x="85040" y="12019"/>
                </a:cubicBezTo>
                <a:cubicBezTo>
                  <a:pt x="56538" y="-22380"/>
                  <a:pt x="11110" y="29318"/>
                  <a:pt x="630" y="55386"/>
                </a:cubicBezTo>
                <a:cubicBezTo>
                  <a:pt x="-3009" y="64441"/>
                  <a:pt x="10145" y="70339"/>
                  <a:pt x="13785" y="61415"/>
                </a:cubicBezTo>
                <a:cubicBezTo>
                  <a:pt x="27992" y="24319"/>
                  <a:pt x="78221" y="-12668"/>
                  <a:pt x="82496" y="51571"/>
                </a:cubicBezTo>
                <a:cubicBezTo>
                  <a:pt x="84097" y="65734"/>
                  <a:pt x="86640" y="82003"/>
                  <a:pt x="98129" y="91803"/>
                </a:cubicBezTo>
                <a:cubicBezTo>
                  <a:pt x="110954" y="102765"/>
                  <a:pt x="128560" y="98863"/>
                  <a:pt x="140355" y="88558"/>
                </a:cubicBezTo>
                <a:cubicBezTo>
                  <a:pt x="155703" y="75184"/>
                  <a:pt x="157632" y="55079"/>
                  <a:pt x="164867" y="37255"/>
                </a:cubicBezTo>
                <a:cubicBezTo>
                  <a:pt x="172102" y="19430"/>
                  <a:pt x="191308" y="5464"/>
                  <a:pt x="205690" y="25086"/>
                </a:cubicBezTo>
                <a:cubicBezTo>
                  <a:pt x="222397" y="47844"/>
                  <a:pt x="217508" y="92066"/>
                  <a:pt x="250965" y="100880"/>
                </a:cubicBezTo>
                <a:cubicBezTo>
                  <a:pt x="294375" y="108729"/>
                  <a:pt x="307464" y="48633"/>
                  <a:pt x="322022" y="18904"/>
                </a:cubicBezTo>
                <a:cubicBezTo>
                  <a:pt x="326034" y="9915"/>
                  <a:pt x="312836" y="4039"/>
                  <a:pt x="308867" y="1283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7" name="CustomShape 9"/>
          <p:cNvSpPr/>
          <p:nvPr/>
        </p:nvSpPr>
        <p:spPr>
          <a:xfrm>
            <a:off x="2829600" y="4511520"/>
            <a:ext cx="1376640" cy="66600"/>
          </a:xfrm>
          <a:custGeom>
            <a:avLst/>
            <a:gdLst/>
            <a:ahLst/>
            <a:cxnLst/>
            <a:rect l="l" t="t" r="r" b="b"/>
            <a:pathLst>
              <a:path w="652626" h="31710">
                <a:moveTo>
                  <a:pt x="645179" y="13550"/>
                </a:moveTo>
                <a:cubicBezTo>
                  <a:pt x="432971" y="20774"/>
                  <a:pt x="220527" y="16258"/>
                  <a:pt x="8819" y="23"/>
                </a:cubicBezTo>
                <a:cubicBezTo>
                  <a:pt x="-280" y="-657"/>
                  <a:pt x="-3941" y="13989"/>
                  <a:pt x="5662" y="14712"/>
                </a:cubicBezTo>
                <a:cubicBezTo>
                  <a:pt x="218646" y="31045"/>
                  <a:pt x="432371" y="35612"/>
                  <a:pt x="645859" y="28393"/>
                </a:cubicBezTo>
                <a:cubicBezTo>
                  <a:pt x="655067" y="28043"/>
                  <a:pt x="654914" y="13178"/>
                  <a:pt x="645179" y="1355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8" name="CustomShape 10"/>
          <p:cNvSpPr/>
          <p:nvPr/>
        </p:nvSpPr>
        <p:spPr>
          <a:xfrm>
            <a:off x="4309560" y="4545000"/>
            <a:ext cx="263520" cy="30960"/>
          </a:xfrm>
          <a:custGeom>
            <a:avLst/>
            <a:gdLst/>
            <a:ahLst/>
            <a:cxnLst/>
            <a:rect l="l" t="t" r="r" b="b"/>
            <a:pathLst>
              <a:path w="125099" h="14799">
                <a:moveTo>
                  <a:pt x="117661" y="0"/>
                </a:moveTo>
                <a:lnTo>
                  <a:pt x="6833" y="0"/>
                </a:lnTo>
                <a:cubicBezTo>
                  <a:pt x="-2463" y="0"/>
                  <a:pt x="-2288" y="14799"/>
                  <a:pt x="7446" y="14799"/>
                </a:cubicBezTo>
                <a:lnTo>
                  <a:pt x="118275" y="14799"/>
                </a:lnTo>
                <a:cubicBezTo>
                  <a:pt x="127571" y="14887"/>
                  <a:pt x="127374" y="0"/>
                  <a:pt x="117661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9" name="CustomShape 11"/>
          <p:cNvSpPr/>
          <p:nvPr/>
        </p:nvSpPr>
        <p:spPr>
          <a:xfrm>
            <a:off x="7710840" y="667080"/>
            <a:ext cx="290160" cy="230760"/>
          </a:xfrm>
          <a:custGeom>
            <a:avLst/>
            <a:gdLst/>
            <a:ahLst/>
            <a:cxnLst/>
            <a:rect l="l" t="t" r="r" b="b"/>
            <a:pathLst>
              <a:path w="137618" h="109585">
                <a:moveTo>
                  <a:pt x="136999" y="99882"/>
                </a:moveTo>
                <a:cubicBezTo>
                  <a:pt x="113869" y="47085"/>
                  <a:pt x="65635" y="9548"/>
                  <a:pt x="8785" y="104"/>
                </a:cubicBezTo>
                <a:cubicBezTo>
                  <a:pt x="-292" y="-1365"/>
                  <a:pt x="-3910" y="13258"/>
                  <a:pt x="5627" y="14771"/>
                </a:cubicBezTo>
                <a:cubicBezTo>
                  <a:pt x="57435" y="23274"/>
                  <a:pt x="101482" y="57237"/>
                  <a:pt x="122902" y="105166"/>
                </a:cubicBezTo>
                <a:cubicBezTo>
                  <a:pt x="126738" y="113936"/>
                  <a:pt x="140705" y="108323"/>
                  <a:pt x="136999" y="9988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60" name="CustomShape 12"/>
          <p:cNvSpPr/>
          <p:nvPr/>
        </p:nvSpPr>
        <p:spPr>
          <a:xfrm>
            <a:off x="7865280" y="617040"/>
            <a:ext cx="132120" cy="90720"/>
          </a:xfrm>
          <a:custGeom>
            <a:avLst/>
            <a:gdLst/>
            <a:ahLst/>
            <a:cxnLst/>
            <a:rect l="l" t="t" r="r" b="b"/>
            <a:pathLst>
              <a:path w="62762" h="43243">
                <a:moveTo>
                  <a:pt x="60351" y="30032"/>
                </a:moveTo>
                <a:cubicBezTo>
                  <a:pt x="45705" y="17367"/>
                  <a:pt x="28955" y="7372"/>
                  <a:pt x="10845" y="500"/>
                </a:cubicBezTo>
                <a:cubicBezTo>
                  <a:pt x="2273" y="-2745"/>
                  <a:pt x="-4765" y="10739"/>
                  <a:pt x="4092" y="14093"/>
                </a:cubicBezTo>
                <a:cubicBezTo>
                  <a:pt x="20996" y="20446"/>
                  <a:pt x="36672" y="29731"/>
                  <a:pt x="50353" y="41521"/>
                </a:cubicBezTo>
                <a:cubicBezTo>
                  <a:pt x="57413" y="47594"/>
                  <a:pt x="67410" y="36127"/>
                  <a:pt x="60351" y="3003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61" name="PlaceHolder 1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Clique para editar o formato do texto da estrutura de tópicos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2.º nível da estrutura de tópicos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3.º nível da estrutura de tópicos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4.º nível da estrutura de tópicos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5.º nível da estrutura de tópicos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6.º nível da estrutura de tópicos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7.º nível da estrutura de tópico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CustomShape 1"/>
          <p:cNvSpPr/>
          <p:nvPr/>
        </p:nvSpPr>
        <p:spPr>
          <a:xfrm rot="20715000">
            <a:off x="7997040" y="3564720"/>
            <a:ext cx="912600" cy="928080"/>
          </a:xfrm>
          <a:custGeom>
            <a:avLst/>
            <a:gdLst/>
            <a:ahLst/>
            <a:cxnLst/>
            <a:rect l="l" t="t" r="r" b="b"/>
            <a:pathLst>
              <a:path w="549996" h="559316">
                <a:moveTo>
                  <a:pt x="536665" y="198722"/>
                </a:moveTo>
                <a:cubicBezTo>
                  <a:pt x="507988" y="55467"/>
                  <a:pt x="324589" y="-49573"/>
                  <a:pt x="179295" y="24291"/>
                </a:cubicBezTo>
                <a:cubicBezTo>
                  <a:pt x="17974" y="106420"/>
                  <a:pt x="-81169" y="375917"/>
                  <a:pt x="88111" y="512244"/>
                </a:cubicBezTo>
                <a:cubicBezTo>
                  <a:pt x="141168" y="554536"/>
                  <a:pt x="210888" y="558504"/>
                  <a:pt x="276092" y="557584"/>
                </a:cubicBezTo>
                <a:cubicBezTo>
                  <a:pt x="484178" y="579947"/>
                  <a:pt x="588999" y="381814"/>
                  <a:pt x="536665" y="19872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99" name="CustomShape 2"/>
          <p:cNvSpPr/>
          <p:nvPr/>
        </p:nvSpPr>
        <p:spPr>
          <a:xfrm>
            <a:off x="642600" y="331920"/>
            <a:ext cx="6942960" cy="927360"/>
          </a:xfrm>
          <a:custGeom>
            <a:avLst/>
            <a:gdLst/>
            <a:ahLst/>
            <a:cxnLst/>
            <a:rect l="l" t="t" r="r" b="b"/>
            <a:pathLst>
              <a:path w="3290684" h="399035">
                <a:moveTo>
                  <a:pt x="3288221" y="146895"/>
                </a:moveTo>
                <a:cubicBezTo>
                  <a:pt x="3288879" y="83708"/>
                  <a:pt x="3268160" y="25739"/>
                  <a:pt x="3196488" y="21201"/>
                </a:cubicBezTo>
                <a:cubicBezTo>
                  <a:pt x="2907830" y="16005"/>
                  <a:pt x="2618711" y="18197"/>
                  <a:pt x="2329921" y="14777"/>
                </a:cubicBezTo>
                <a:cubicBezTo>
                  <a:pt x="1580495" y="9866"/>
                  <a:pt x="931222" y="0"/>
                  <a:pt x="181841" y="0"/>
                </a:cubicBezTo>
                <a:cubicBezTo>
                  <a:pt x="-44245" y="0"/>
                  <a:pt x="4866" y="162044"/>
                  <a:pt x="3813" y="206244"/>
                </a:cubicBezTo>
                <a:cubicBezTo>
                  <a:pt x="-6272" y="347395"/>
                  <a:pt x="64456" y="394927"/>
                  <a:pt x="198174" y="383395"/>
                </a:cubicBezTo>
                <a:lnTo>
                  <a:pt x="1064019" y="387780"/>
                </a:lnTo>
                <a:lnTo>
                  <a:pt x="2795708" y="396549"/>
                </a:lnTo>
                <a:cubicBezTo>
                  <a:pt x="2909277" y="397119"/>
                  <a:pt x="3023284" y="400671"/>
                  <a:pt x="3136832" y="398128"/>
                </a:cubicBezTo>
                <a:cubicBezTo>
                  <a:pt x="3275790" y="400627"/>
                  <a:pt x="3299512" y="257767"/>
                  <a:pt x="3288221" y="14689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00" name="CustomShape 3"/>
          <p:cNvSpPr/>
          <p:nvPr/>
        </p:nvSpPr>
        <p:spPr>
          <a:xfrm>
            <a:off x="368280" y="422280"/>
            <a:ext cx="8379360" cy="4302360"/>
          </a:xfrm>
          <a:custGeom>
            <a:avLst/>
            <a:gdLst/>
            <a:ahLst/>
            <a:cxnLst/>
            <a:rect l="l" t="t" r="r" b="b"/>
            <a:pathLst>
              <a:path w="3971497" h="2039137">
                <a:moveTo>
                  <a:pt x="3947725" y="299512"/>
                </a:moveTo>
                <a:cubicBezTo>
                  <a:pt x="3924134" y="113307"/>
                  <a:pt x="3885284" y="33501"/>
                  <a:pt x="3686450" y="8902"/>
                </a:cubicBezTo>
                <a:cubicBezTo>
                  <a:pt x="3601997" y="-3398"/>
                  <a:pt x="3538196" y="330"/>
                  <a:pt x="3453085" y="1250"/>
                </a:cubicBezTo>
                <a:cubicBezTo>
                  <a:pt x="2545650" y="21443"/>
                  <a:pt x="1638390" y="51765"/>
                  <a:pt x="731371" y="878"/>
                </a:cubicBezTo>
                <a:cubicBezTo>
                  <a:pt x="642467" y="-87"/>
                  <a:pt x="553519" y="1250"/>
                  <a:pt x="464769" y="6534"/>
                </a:cubicBezTo>
                <a:cubicBezTo>
                  <a:pt x="385183" y="11292"/>
                  <a:pt x="302374" y="15304"/>
                  <a:pt x="224563" y="33743"/>
                </a:cubicBezTo>
                <a:cubicBezTo>
                  <a:pt x="159908" y="49090"/>
                  <a:pt x="106653" y="83204"/>
                  <a:pt x="86570" y="149329"/>
                </a:cubicBezTo>
                <a:cubicBezTo>
                  <a:pt x="9067" y="671747"/>
                  <a:pt x="-7925" y="1209227"/>
                  <a:pt x="2994" y="1737127"/>
                </a:cubicBezTo>
                <a:cubicBezTo>
                  <a:pt x="7729" y="2035301"/>
                  <a:pt x="225024" y="2012784"/>
                  <a:pt x="454881" y="2012828"/>
                </a:cubicBezTo>
                <a:cubicBezTo>
                  <a:pt x="1452075" y="2021379"/>
                  <a:pt x="2463170" y="2030543"/>
                  <a:pt x="3459136" y="2039138"/>
                </a:cubicBezTo>
                <a:cubicBezTo>
                  <a:pt x="3468432" y="2039138"/>
                  <a:pt x="3468235" y="2024426"/>
                  <a:pt x="3458544" y="2024339"/>
                </a:cubicBezTo>
                <a:cubicBezTo>
                  <a:pt x="2395752" y="2013552"/>
                  <a:pt x="1331030" y="2008487"/>
                  <a:pt x="268237" y="1995157"/>
                </a:cubicBezTo>
                <a:cubicBezTo>
                  <a:pt x="201871" y="1991167"/>
                  <a:pt x="129981" y="1978933"/>
                  <a:pt x="80870" y="1929997"/>
                </a:cubicBezTo>
                <a:cubicBezTo>
                  <a:pt x="27856" y="1877181"/>
                  <a:pt x="19898" y="1797332"/>
                  <a:pt x="17289" y="1726406"/>
                </a:cubicBezTo>
                <a:cubicBezTo>
                  <a:pt x="11150" y="1553355"/>
                  <a:pt x="12904" y="1379647"/>
                  <a:pt x="17289" y="1206596"/>
                </a:cubicBezTo>
                <a:cubicBezTo>
                  <a:pt x="24962" y="897125"/>
                  <a:pt x="46317" y="588368"/>
                  <a:pt x="81352" y="280328"/>
                </a:cubicBezTo>
                <a:cubicBezTo>
                  <a:pt x="89990" y="206026"/>
                  <a:pt x="89333" y="112868"/>
                  <a:pt x="163591" y="71825"/>
                </a:cubicBezTo>
                <a:cubicBezTo>
                  <a:pt x="194285" y="54286"/>
                  <a:pt x="229825" y="46349"/>
                  <a:pt x="264444" y="40978"/>
                </a:cubicBezTo>
                <a:cubicBezTo>
                  <a:pt x="347341" y="28174"/>
                  <a:pt x="431728" y="22408"/>
                  <a:pt x="515502" y="18746"/>
                </a:cubicBezTo>
                <a:cubicBezTo>
                  <a:pt x="692894" y="11029"/>
                  <a:pt x="870483" y="17869"/>
                  <a:pt x="1047743" y="26113"/>
                </a:cubicBezTo>
                <a:cubicBezTo>
                  <a:pt x="1755029" y="63845"/>
                  <a:pt x="2462863" y="37711"/>
                  <a:pt x="3170346" y="20654"/>
                </a:cubicBezTo>
                <a:cubicBezTo>
                  <a:pt x="3346028" y="20478"/>
                  <a:pt x="3500947" y="3289"/>
                  <a:pt x="3675948" y="22605"/>
                </a:cubicBezTo>
                <a:cubicBezTo>
                  <a:pt x="3819576" y="42556"/>
                  <a:pt x="3893001" y="73821"/>
                  <a:pt x="3920034" y="229880"/>
                </a:cubicBezTo>
                <a:cubicBezTo>
                  <a:pt x="4003348" y="663591"/>
                  <a:pt x="3918609" y="1093707"/>
                  <a:pt x="3926392" y="1543489"/>
                </a:cubicBezTo>
                <a:cubicBezTo>
                  <a:pt x="3926568" y="1553092"/>
                  <a:pt x="3940665" y="1547436"/>
                  <a:pt x="3940490" y="1538337"/>
                </a:cubicBezTo>
                <a:cubicBezTo>
                  <a:pt x="3933321" y="1127383"/>
                  <a:pt x="4008215" y="711694"/>
                  <a:pt x="3947725" y="29951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01" name="PlaceHolder 4"/>
          <p:cNvSpPr>
            <a:spLocks noGrp="1"/>
          </p:cNvSpPr>
          <p:nvPr>
            <p:ph type="title"/>
          </p:nvPr>
        </p:nvSpPr>
        <p:spPr>
          <a:xfrm>
            <a:off x="883440" y="683640"/>
            <a:ext cx="6426000" cy="396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r>
              <a:rPr lang="pt-BR" sz="3400" b="0" strike="noStrike" spc="-1">
                <a:solidFill>
                  <a:srgbClr val="000000"/>
                </a:solidFill>
                <a:latin typeface="Arial"/>
              </a:rPr>
              <a:t>Clique para editar o formato do texto do título</a:t>
            </a:r>
          </a:p>
        </p:txBody>
      </p:sp>
      <p:sp>
        <p:nvSpPr>
          <p:cNvPr id="102" name="PlaceHolder 5"/>
          <p:cNvSpPr>
            <a:spLocks noGrp="1"/>
          </p:cNvSpPr>
          <p:nvPr>
            <p:ph type="body"/>
          </p:nvPr>
        </p:nvSpPr>
        <p:spPr>
          <a:xfrm>
            <a:off x="1188000" y="1506240"/>
            <a:ext cx="3002400" cy="276192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Clique para editar o formato do texto da estrutura de tópicos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2.º nível da estrutura de tópicos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3.º nível da estrutura de tópicos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4.º nível da estrutura de tópicos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5.º nível da estrutura de tópicos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6.º nível da estrutura de tópicos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7.º nível da estrutura de tópicos</a:t>
            </a:r>
          </a:p>
        </p:txBody>
      </p:sp>
      <p:sp>
        <p:nvSpPr>
          <p:cNvPr id="103" name="PlaceHolder 6"/>
          <p:cNvSpPr>
            <a:spLocks noGrp="1"/>
          </p:cNvSpPr>
          <p:nvPr>
            <p:ph type="body"/>
          </p:nvPr>
        </p:nvSpPr>
        <p:spPr>
          <a:xfrm>
            <a:off x="4611960" y="1506240"/>
            <a:ext cx="3002400" cy="276192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Clique para editar o formato do texto da estrutura de tópicos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2.º nível da estrutura de tópicos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3.º nível da estrutura de tópicos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4.º nível da estrutura de tópicos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5.º nível da estrutura de tópicos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6.º nível da estrutura de tópicos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7.º nível da estrutura de tópicos</a:t>
            </a:r>
          </a:p>
        </p:txBody>
      </p:sp>
      <p:sp>
        <p:nvSpPr>
          <p:cNvPr id="104" name="PlaceHolder 7"/>
          <p:cNvSpPr>
            <a:spLocks noGrp="1"/>
          </p:cNvSpPr>
          <p:nvPr>
            <p:ph type="sldNum"/>
          </p:nvPr>
        </p:nvSpPr>
        <p:spPr>
          <a:xfrm>
            <a:off x="8404200" y="4693320"/>
            <a:ext cx="548280" cy="299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A8815C3C-390E-49A5-9569-871E8B3D5CF0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‹nº›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105" name="CustomShape 8"/>
          <p:cNvSpPr/>
          <p:nvPr/>
        </p:nvSpPr>
        <p:spPr>
          <a:xfrm>
            <a:off x="8138880" y="236880"/>
            <a:ext cx="738720" cy="927720"/>
          </a:xfrm>
          <a:custGeom>
            <a:avLst/>
            <a:gdLst/>
            <a:ahLst/>
            <a:cxnLst/>
            <a:rect l="l" t="t" r="r" b="b"/>
            <a:pathLst>
              <a:path w="385904" h="484587">
                <a:moveTo>
                  <a:pt x="316148" y="219239"/>
                </a:moveTo>
                <a:cubicBezTo>
                  <a:pt x="261491" y="116194"/>
                  <a:pt x="157744" y="32311"/>
                  <a:pt x="38101" y="26786"/>
                </a:cubicBezTo>
                <a:cubicBezTo>
                  <a:pt x="47463" y="22510"/>
                  <a:pt x="56935" y="18432"/>
                  <a:pt x="66471" y="14530"/>
                </a:cubicBezTo>
                <a:cubicBezTo>
                  <a:pt x="75241" y="10978"/>
                  <a:pt x="71273" y="-3010"/>
                  <a:pt x="62086" y="586"/>
                </a:cubicBezTo>
                <a:cubicBezTo>
                  <a:pt x="42552" y="8566"/>
                  <a:pt x="23390" y="17336"/>
                  <a:pt x="4578" y="26895"/>
                </a:cubicBezTo>
                <a:cubicBezTo>
                  <a:pt x="-2854" y="30645"/>
                  <a:pt x="-508" y="42440"/>
                  <a:pt x="6398" y="41585"/>
                </a:cubicBezTo>
                <a:cubicBezTo>
                  <a:pt x="7473" y="41870"/>
                  <a:pt x="8591" y="41957"/>
                  <a:pt x="9709" y="41826"/>
                </a:cubicBezTo>
                <a:cubicBezTo>
                  <a:pt x="22162" y="48710"/>
                  <a:pt x="33190" y="57875"/>
                  <a:pt x="42267" y="68837"/>
                </a:cubicBezTo>
                <a:cubicBezTo>
                  <a:pt x="48231" y="76094"/>
                  <a:pt x="60618" y="67368"/>
                  <a:pt x="54786" y="60265"/>
                </a:cubicBezTo>
                <a:cubicBezTo>
                  <a:pt x="49217" y="53468"/>
                  <a:pt x="42990" y="47241"/>
                  <a:pt x="36216" y="41650"/>
                </a:cubicBezTo>
                <a:cubicBezTo>
                  <a:pt x="257544" y="58730"/>
                  <a:pt x="357411" y="281133"/>
                  <a:pt x="371135" y="478147"/>
                </a:cubicBezTo>
                <a:cubicBezTo>
                  <a:pt x="372034" y="487859"/>
                  <a:pt x="386723" y="485952"/>
                  <a:pt x="385869" y="476678"/>
                </a:cubicBezTo>
                <a:cubicBezTo>
                  <a:pt x="377756" y="387730"/>
                  <a:pt x="358704" y="298409"/>
                  <a:pt x="316148" y="219239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06" name="CustomShape 9"/>
          <p:cNvSpPr/>
          <p:nvPr/>
        </p:nvSpPr>
        <p:spPr>
          <a:xfrm>
            <a:off x="8547840" y="2846880"/>
            <a:ext cx="261720" cy="230760"/>
          </a:xfrm>
          <a:custGeom>
            <a:avLst/>
            <a:gdLst/>
            <a:ahLst/>
            <a:cxnLst/>
            <a:rect l="l" t="t" r="r" b="b"/>
            <a:pathLst>
              <a:path w="124229" h="109530">
                <a:moveTo>
                  <a:pt x="79291" y="1720"/>
                </a:moveTo>
                <a:cubicBezTo>
                  <a:pt x="8212" y="-15360"/>
                  <a:pt x="-40965" y="100205"/>
                  <a:pt x="47829" y="108799"/>
                </a:cubicBezTo>
                <a:cubicBezTo>
                  <a:pt x="119983" y="119191"/>
                  <a:pt x="160785" y="15554"/>
                  <a:pt x="79291" y="1720"/>
                </a:cubicBezTo>
                <a:close/>
                <a:moveTo>
                  <a:pt x="106609" y="64095"/>
                </a:moveTo>
                <a:cubicBezTo>
                  <a:pt x="93827" y="96675"/>
                  <a:pt x="39761" y="106168"/>
                  <a:pt x="18275" y="78083"/>
                </a:cubicBezTo>
                <a:cubicBezTo>
                  <a:pt x="2292" y="46095"/>
                  <a:pt x="38489" y="11651"/>
                  <a:pt x="70390" y="15247"/>
                </a:cubicBezTo>
                <a:cubicBezTo>
                  <a:pt x="97620" y="15401"/>
                  <a:pt x="116651" y="36974"/>
                  <a:pt x="106609" y="64095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07" name="CustomShape 10"/>
          <p:cNvSpPr/>
          <p:nvPr/>
        </p:nvSpPr>
        <p:spPr>
          <a:xfrm>
            <a:off x="4426920" y="4724640"/>
            <a:ext cx="887760" cy="61200"/>
          </a:xfrm>
          <a:custGeom>
            <a:avLst/>
            <a:gdLst/>
            <a:ahLst/>
            <a:cxnLst/>
            <a:rect l="l" t="t" r="r" b="b"/>
            <a:pathLst>
              <a:path w="420923" h="29142">
                <a:moveTo>
                  <a:pt x="413489" y="13189"/>
                </a:moveTo>
                <a:cubicBezTo>
                  <a:pt x="278455" y="16526"/>
                  <a:pt x="143334" y="12132"/>
                  <a:pt x="8805" y="34"/>
                </a:cubicBezTo>
                <a:cubicBezTo>
                  <a:pt x="-293" y="-799"/>
                  <a:pt x="-3933" y="13847"/>
                  <a:pt x="5670" y="14702"/>
                </a:cubicBezTo>
                <a:cubicBezTo>
                  <a:pt x="141449" y="26940"/>
                  <a:pt x="277798" y="31404"/>
                  <a:pt x="414081" y="28076"/>
                </a:cubicBezTo>
                <a:cubicBezTo>
                  <a:pt x="423377" y="27769"/>
                  <a:pt x="423223" y="12970"/>
                  <a:pt x="413489" y="13189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08" name="CustomShape 11"/>
          <p:cNvSpPr/>
          <p:nvPr/>
        </p:nvSpPr>
        <p:spPr>
          <a:xfrm>
            <a:off x="5368680" y="4755600"/>
            <a:ext cx="86400" cy="30960"/>
          </a:xfrm>
          <a:custGeom>
            <a:avLst/>
            <a:gdLst/>
            <a:ahLst/>
            <a:cxnLst/>
            <a:rect l="l" t="t" r="r" b="b"/>
            <a:pathLst>
              <a:path w="41180" h="14777">
                <a:moveTo>
                  <a:pt x="33693" y="0"/>
                </a:moveTo>
                <a:lnTo>
                  <a:pt x="6835" y="0"/>
                </a:lnTo>
                <a:cubicBezTo>
                  <a:pt x="-2461" y="0"/>
                  <a:pt x="-2286" y="14777"/>
                  <a:pt x="7427" y="14777"/>
                </a:cubicBezTo>
                <a:lnTo>
                  <a:pt x="34307" y="14777"/>
                </a:lnTo>
                <a:cubicBezTo>
                  <a:pt x="43669" y="14777"/>
                  <a:pt x="43471" y="0"/>
                  <a:pt x="33693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09" name="CustomShape 12"/>
          <p:cNvSpPr/>
          <p:nvPr/>
        </p:nvSpPr>
        <p:spPr>
          <a:xfrm>
            <a:off x="5538600" y="4755240"/>
            <a:ext cx="299520" cy="40320"/>
          </a:xfrm>
          <a:custGeom>
            <a:avLst/>
            <a:gdLst/>
            <a:ahLst/>
            <a:cxnLst/>
            <a:rect l="l" t="t" r="r" b="b"/>
            <a:pathLst>
              <a:path w="142051" h="19280">
                <a:moveTo>
                  <a:pt x="136384" y="4500"/>
                </a:moveTo>
                <a:lnTo>
                  <a:pt x="8783" y="5"/>
                </a:lnTo>
                <a:cubicBezTo>
                  <a:pt x="-272" y="-323"/>
                  <a:pt x="-3933" y="14344"/>
                  <a:pt x="5648" y="14695"/>
                </a:cubicBezTo>
                <a:lnTo>
                  <a:pt x="133227" y="19277"/>
                </a:lnTo>
                <a:cubicBezTo>
                  <a:pt x="142282" y="19518"/>
                  <a:pt x="146031" y="4851"/>
                  <a:pt x="136384" y="450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10" name="CustomShape 13"/>
          <p:cNvSpPr/>
          <p:nvPr/>
        </p:nvSpPr>
        <p:spPr>
          <a:xfrm>
            <a:off x="325440" y="1027800"/>
            <a:ext cx="113040" cy="953640"/>
          </a:xfrm>
          <a:custGeom>
            <a:avLst/>
            <a:gdLst/>
            <a:ahLst/>
            <a:cxnLst/>
            <a:rect l="l" t="t" r="r" b="b"/>
            <a:pathLst>
              <a:path w="53711" h="452156">
                <a:moveTo>
                  <a:pt x="39194" y="6047"/>
                </a:moveTo>
                <a:cubicBezTo>
                  <a:pt x="16217" y="151582"/>
                  <a:pt x="8039" y="298805"/>
                  <a:pt x="15" y="445744"/>
                </a:cubicBezTo>
                <a:cubicBezTo>
                  <a:pt x="-533" y="455478"/>
                  <a:pt x="14244" y="453439"/>
                  <a:pt x="14748" y="444275"/>
                </a:cubicBezTo>
                <a:cubicBezTo>
                  <a:pt x="22707" y="298586"/>
                  <a:pt x="30819" y="152678"/>
                  <a:pt x="53598" y="8393"/>
                </a:cubicBezTo>
                <a:cubicBezTo>
                  <a:pt x="55133" y="-1298"/>
                  <a:pt x="40597" y="-3271"/>
                  <a:pt x="39194" y="6047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11" name="CustomShape 14"/>
          <p:cNvSpPr/>
          <p:nvPr/>
        </p:nvSpPr>
        <p:spPr>
          <a:xfrm>
            <a:off x="257040" y="1121040"/>
            <a:ext cx="79920" cy="398520"/>
          </a:xfrm>
          <a:custGeom>
            <a:avLst/>
            <a:gdLst/>
            <a:ahLst/>
            <a:cxnLst/>
            <a:rect l="l" t="t" r="r" b="b"/>
            <a:pathLst>
              <a:path w="38122" h="189118">
                <a:moveTo>
                  <a:pt x="23673" y="6072"/>
                </a:moveTo>
                <a:cubicBezTo>
                  <a:pt x="15809" y="64288"/>
                  <a:pt x="7945" y="122498"/>
                  <a:pt x="82" y="180701"/>
                </a:cubicBezTo>
                <a:cubicBezTo>
                  <a:pt x="-1212" y="190414"/>
                  <a:pt x="13237" y="192409"/>
                  <a:pt x="14486" y="183047"/>
                </a:cubicBezTo>
                <a:cubicBezTo>
                  <a:pt x="22364" y="124844"/>
                  <a:pt x="30213" y="66634"/>
                  <a:pt x="38033" y="8418"/>
                </a:cubicBezTo>
                <a:cubicBezTo>
                  <a:pt x="39393" y="-1295"/>
                  <a:pt x="24879" y="-3290"/>
                  <a:pt x="23673" y="607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CustomShape 1"/>
          <p:cNvSpPr/>
          <p:nvPr/>
        </p:nvSpPr>
        <p:spPr>
          <a:xfrm>
            <a:off x="1711440" y="1054800"/>
            <a:ext cx="2520" cy="1080"/>
          </a:xfrm>
          <a:custGeom>
            <a:avLst/>
            <a:gdLst/>
            <a:ahLst/>
            <a:cxnLst/>
            <a:rect l="l" t="t" r="r" b="b"/>
            <a:pathLst>
              <a:path w="1400" h="662">
                <a:moveTo>
                  <a:pt x="0" y="663"/>
                </a:moveTo>
                <a:cubicBezTo>
                  <a:pt x="2192" y="-368"/>
                  <a:pt x="1513" y="-61"/>
                  <a:pt x="0" y="663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49" name="CustomShape 2"/>
          <p:cNvSpPr/>
          <p:nvPr/>
        </p:nvSpPr>
        <p:spPr>
          <a:xfrm>
            <a:off x="789840" y="506160"/>
            <a:ext cx="7918920" cy="4370760"/>
          </a:xfrm>
          <a:custGeom>
            <a:avLst/>
            <a:gdLst/>
            <a:ahLst/>
            <a:cxnLst/>
            <a:rect l="l" t="t" r="r" b="b"/>
            <a:pathLst>
              <a:path w="3753190" h="2071651">
                <a:moveTo>
                  <a:pt x="3559557" y="312526"/>
                </a:moveTo>
                <a:cubicBezTo>
                  <a:pt x="3462673" y="190537"/>
                  <a:pt x="3320580" y="114262"/>
                  <a:pt x="3169958" y="80871"/>
                </a:cubicBezTo>
                <a:cubicBezTo>
                  <a:pt x="2666702" y="-4635"/>
                  <a:pt x="2149217" y="-1697"/>
                  <a:pt x="1639734" y="934"/>
                </a:cubicBezTo>
                <a:cubicBezTo>
                  <a:pt x="1246802" y="10932"/>
                  <a:pt x="855690" y="56206"/>
                  <a:pt x="467318" y="117923"/>
                </a:cubicBezTo>
                <a:cubicBezTo>
                  <a:pt x="174056" y="164557"/>
                  <a:pt x="89909" y="643718"/>
                  <a:pt x="35646" y="899687"/>
                </a:cubicBezTo>
                <a:cubicBezTo>
                  <a:pt x="-28637" y="1401979"/>
                  <a:pt x="-84588" y="1869849"/>
                  <a:pt x="614695" y="1936390"/>
                </a:cubicBezTo>
                <a:cubicBezTo>
                  <a:pt x="1341779" y="2005561"/>
                  <a:pt x="2076558" y="2008434"/>
                  <a:pt x="2804213" y="1931237"/>
                </a:cubicBezTo>
                <a:cubicBezTo>
                  <a:pt x="2974808" y="1913456"/>
                  <a:pt x="3089078" y="1906791"/>
                  <a:pt x="3089078" y="1906791"/>
                </a:cubicBezTo>
                <a:cubicBezTo>
                  <a:pt x="3099164" y="1977323"/>
                  <a:pt x="3363661" y="2103279"/>
                  <a:pt x="3459384" y="2064341"/>
                </a:cubicBezTo>
                <a:cubicBezTo>
                  <a:pt x="3373725" y="1984887"/>
                  <a:pt x="3328363" y="1836962"/>
                  <a:pt x="3328363" y="1836962"/>
                </a:cubicBezTo>
                <a:cubicBezTo>
                  <a:pt x="3697529" y="1838781"/>
                  <a:pt x="3736708" y="1487660"/>
                  <a:pt x="3747407" y="1232568"/>
                </a:cubicBezTo>
                <a:cubicBezTo>
                  <a:pt x="3760452" y="920406"/>
                  <a:pt x="3769770" y="568692"/>
                  <a:pt x="3559557" y="3125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0" name="CustomShape 3"/>
          <p:cNvSpPr/>
          <p:nvPr/>
        </p:nvSpPr>
        <p:spPr>
          <a:xfrm>
            <a:off x="529560" y="349920"/>
            <a:ext cx="8062200" cy="4511880"/>
          </a:xfrm>
          <a:custGeom>
            <a:avLst/>
            <a:gdLst/>
            <a:ahLst/>
            <a:cxnLst/>
            <a:rect l="l" t="t" r="r" b="b"/>
            <a:pathLst>
              <a:path w="3821135" h="2138509">
                <a:moveTo>
                  <a:pt x="3819859" y="752034"/>
                </a:moveTo>
                <a:cubicBezTo>
                  <a:pt x="3812054" y="539103"/>
                  <a:pt x="3741062" y="308303"/>
                  <a:pt x="3556764" y="183793"/>
                </a:cubicBezTo>
                <a:cubicBezTo>
                  <a:pt x="3418070" y="94210"/>
                  <a:pt x="3245918" y="93267"/>
                  <a:pt x="3087294" y="70619"/>
                </a:cubicBezTo>
                <a:cubicBezTo>
                  <a:pt x="2233223" y="-29401"/>
                  <a:pt x="1371303" y="-1973"/>
                  <a:pt x="513768" y="25410"/>
                </a:cubicBezTo>
                <a:cubicBezTo>
                  <a:pt x="504472" y="25717"/>
                  <a:pt x="504626" y="40517"/>
                  <a:pt x="514360" y="40210"/>
                </a:cubicBezTo>
                <a:cubicBezTo>
                  <a:pt x="1396429" y="12037"/>
                  <a:pt x="2283672" y="-16268"/>
                  <a:pt x="3161333" y="94714"/>
                </a:cubicBezTo>
                <a:cubicBezTo>
                  <a:pt x="3242301" y="104953"/>
                  <a:pt x="3324781" y="113350"/>
                  <a:pt x="3403994" y="133740"/>
                </a:cubicBezTo>
                <a:cubicBezTo>
                  <a:pt x="3829331" y="245730"/>
                  <a:pt x="3826151" y="758590"/>
                  <a:pt x="3794098" y="1112320"/>
                </a:cubicBezTo>
                <a:cubicBezTo>
                  <a:pt x="3788682" y="1201882"/>
                  <a:pt x="3783289" y="1291422"/>
                  <a:pt x="3777873" y="1380984"/>
                </a:cubicBezTo>
                <a:cubicBezTo>
                  <a:pt x="3772919" y="1463047"/>
                  <a:pt x="3775440" y="1551052"/>
                  <a:pt x="3749985" y="1630069"/>
                </a:cubicBezTo>
                <a:cubicBezTo>
                  <a:pt x="3682304" y="1828398"/>
                  <a:pt x="3446681" y="1860474"/>
                  <a:pt x="3265453" y="1869353"/>
                </a:cubicBezTo>
                <a:cubicBezTo>
                  <a:pt x="3261550" y="1869572"/>
                  <a:pt x="3258525" y="1872861"/>
                  <a:pt x="3258634" y="1876786"/>
                </a:cubicBezTo>
                <a:cubicBezTo>
                  <a:pt x="3253372" y="1875865"/>
                  <a:pt x="3247256" y="1880315"/>
                  <a:pt x="3249865" y="1886191"/>
                </a:cubicBezTo>
                <a:cubicBezTo>
                  <a:pt x="3272885" y="1936245"/>
                  <a:pt x="3299743" y="1984457"/>
                  <a:pt x="3330196" y="2030367"/>
                </a:cubicBezTo>
                <a:cubicBezTo>
                  <a:pt x="3349928" y="2060119"/>
                  <a:pt x="3371305" y="2094321"/>
                  <a:pt x="3399850" y="2118065"/>
                </a:cubicBezTo>
                <a:cubicBezTo>
                  <a:pt x="3244186" y="2098991"/>
                  <a:pt x="3086110" y="2032976"/>
                  <a:pt x="3003959" y="1892242"/>
                </a:cubicBezTo>
                <a:cubicBezTo>
                  <a:pt x="2999859" y="1885183"/>
                  <a:pt x="2990103" y="1890752"/>
                  <a:pt x="2990453" y="1897526"/>
                </a:cubicBezTo>
                <a:cubicBezTo>
                  <a:pt x="2129739" y="1952338"/>
                  <a:pt x="1256221" y="2013003"/>
                  <a:pt x="401887" y="1860956"/>
                </a:cubicBezTo>
                <a:cubicBezTo>
                  <a:pt x="297351" y="1841224"/>
                  <a:pt x="184352" y="1811078"/>
                  <a:pt x="108098" y="1731974"/>
                </a:cubicBezTo>
                <a:cubicBezTo>
                  <a:pt x="16212" y="1636602"/>
                  <a:pt x="18953" y="1494092"/>
                  <a:pt x="16147" y="1370482"/>
                </a:cubicBezTo>
                <a:cubicBezTo>
                  <a:pt x="9487" y="1077504"/>
                  <a:pt x="25437" y="784439"/>
                  <a:pt x="63854" y="493916"/>
                </a:cubicBezTo>
                <a:cubicBezTo>
                  <a:pt x="68605" y="458026"/>
                  <a:pt x="73720" y="422223"/>
                  <a:pt x="79202" y="386486"/>
                </a:cubicBezTo>
                <a:cubicBezTo>
                  <a:pt x="80649" y="376795"/>
                  <a:pt x="66200" y="374800"/>
                  <a:pt x="64775" y="384140"/>
                </a:cubicBezTo>
                <a:cubicBezTo>
                  <a:pt x="20408" y="677030"/>
                  <a:pt x="-1230" y="972902"/>
                  <a:pt x="54" y="1269125"/>
                </a:cubicBezTo>
                <a:cubicBezTo>
                  <a:pt x="3869" y="1541932"/>
                  <a:pt x="-19854" y="1759752"/>
                  <a:pt x="293580" y="1850871"/>
                </a:cubicBezTo>
                <a:cubicBezTo>
                  <a:pt x="349290" y="1867336"/>
                  <a:pt x="406579" y="1877421"/>
                  <a:pt x="463868" y="1886739"/>
                </a:cubicBezTo>
                <a:cubicBezTo>
                  <a:pt x="1302153" y="2022671"/>
                  <a:pt x="2155128" y="1967049"/>
                  <a:pt x="2998127" y="1911755"/>
                </a:cubicBezTo>
                <a:cubicBezTo>
                  <a:pt x="3084838" y="2049463"/>
                  <a:pt x="3246971" y="2117276"/>
                  <a:pt x="3404016" y="2133610"/>
                </a:cubicBezTo>
                <a:cubicBezTo>
                  <a:pt x="3407984" y="2133961"/>
                  <a:pt x="3411624" y="2131330"/>
                  <a:pt x="3412501" y="2127427"/>
                </a:cubicBezTo>
                <a:cubicBezTo>
                  <a:pt x="3418552" y="2131461"/>
                  <a:pt x="3424954" y="2134969"/>
                  <a:pt x="3431619" y="2137885"/>
                </a:cubicBezTo>
                <a:cubicBezTo>
                  <a:pt x="3440060" y="2141546"/>
                  <a:pt x="3446966" y="2128063"/>
                  <a:pt x="3438372" y="2124292"/>
                </a:cubicBezTo>
                <a:cubicBezTo>
                  <a:pt x="3394128" y="2105152"/>
                  <a:pt x="3366021" y="2057137"/>
                  <a:pt x="3340479" y="2018506"/>
                </a:cubicBezTo>
                <a:cubicBezTo>
                  <a:pt x="3312196" y="1975643"/>
                  <a:pt x="3287092" y="1930742"/>
                  <a:pt x="3265409" y="1884174"/>
                </a:cubicBezTo>
                <a:cubicBezTo>
                  <a:pt x="3490267" y="1876413"/>
                  <a:pt x="3757769" y="1818401"/>
                  <a:pt x="3780987" y="1549825"/>
                </a:cubicBezTo>
                <a:cubicBezTo>
                  <a:pt x="3790809" y="1463069"/>
                  <a:pt x="3792848" y="1374976"/>
                  <a:pt x="3798132" y="1287826"/>
                </a:cubicBezTo>
                <a:cubicBezTo>
                  <a:pt x="3806945" y="1109339"/>
                  <a:pt x="3826261" y="930851"/>
                  <a:pt x="3819859" y="752034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grpSp>
        <p:nvGrpSpPr>
          <p:cNvPr id="151" name="Group 4"/>
          <p:cNvGrpSpPr/>
          <p:nvPr/>
        </p:nvGrpSpPr>
        <p:grpSpPr>
          <a:xfrm>
            <a:off x="550080" y="368640"/>
            <a:ext cx="878040" cy="627120"/>
            <a:chOff x="550080" y="368640"/>
            <a:chExt cx="878040" cy="627120"/>
          </a:xfrm>
        </p:grpSpPr>
        <p:sp>
          <p:nvSpPr>
            <p:cNvPr id="152" name="CustomShape 5"/>
            <p:cNvSpPr/>
            <p:nvPr/>
          </p:nvSpPr>
          <p:spPr>
            <a:xfrm>
              <a:off x="550080" y="368640"/>
              <a:ext cx="430560" cy="627120"/>
            </a:xfrm>
            <a:custGeom>
              <a:avLst/>
              <a:gdLst/>
              <a:ahLst/>
              <a:cxnLst/>
              <a:rect l="l" t="t" r="r" b="b"/>
              <a:pathLst>
                <a:path w="204173" h="297412">
                  <a:moveTo>
                    <a:pt x="139600" y="3918"/>
                  </a:moveTo>
                  <a:cubicBezTo>
                    <a:pt x="98338" y="-8491"/>
                    <a:pt x="54708" y="9706"/>
                    <a:pt x="28442" y="42571"/>
                  </a:cubicBezTo>
                  <a:cubicBezTo>
                    <a:pt x="-1200" y="79689"/>
                    <a:pt x="-6483" y="131738"/>
                    <a:pt x="7088" y="176311"/>
                  </a:cubicBezTo>
                  <a:cubicBezTo>
                    <a:pt x="15375" y="203497"/>
                    <a:pt x="33244" y="222045"/>
                    <a:pt x="55322" y="238993"/>
                  </a:cubicBezTo>
                  <a:cubicBezTo>
                    <a:pt x="80842" y="258550"/>
                    <a:pt x="107305" y="276835"/>
                    <a:pt x="134360" y="294199"/>
                  </a:cubicBezTo>
                  <a:cubicBezTo>
                    <a:pt x="135671" y="295098"/>
                    <a:pt x="137291" y="295449"/>
                    <a:pt x="138855" y="295142"/>
                  </a:cubicBezTo>
                  <a:cubicBezTo>
                    <a:pt x="140391" y="296326"/>
                    <a:pt x="142213" y="297093"/>
                    <a:pt x="144138" y="297334"/>
                  </a:cubicBezTo>
                  <a:cubicBezTo>
                    <a:pt x="153237" y="298606"/>
                    <a:pt x="156855" y="283982"/>
                    <a:pt x="147295" y="282667"/>
                  </a:cubicBezTo>
                  <a:cubicBezTo>
                    <a:pt x="145827" y="282448"/>
                    <a:pt x="140981" y="260479"/>
                    <a:pt x="140148" y="257081"/>
                  </a:cubicBezTo>
                  <a:cubicBezTo>
                    <a:pt x="133825" y="231100"/>
                    <a:pt x="132067" y="204221"/>
                    <a:pt x="134952" y="177648"/>
                  </a:cubicBezTo>
                  <a:cubicBezTo>
                    <a:pt x="176609" y="182954"/>
                    <a:pt x="202633" y="143665"/>
                    <a:pt x="203883" y="105670"/>
                  </a:cubicBezTo>
                  <a:cubicBezTo>
                    <a:pt x="206974" y="59694"/>
                    <a:pt x="185444" y="17687"/>
                    <a:pt x="139600" y="3918"/>
                  </a:cubicBezTo>
                  <a:close/>
                  <a:moveTo>
                    <a:pt x="183054" y="133777"/>
                  </a:moveTo>
                  <a:cubicBezTo>
                    <a:pt x="174767" y="153268"/>
                    <a:pt x="153741" y="169383"/>
                    <a:pt x="131882" y="161709"/>
                  </a:cubicBezTo>
                  <a:cubicBezTo>
                    <a:pt x="129346" y="160810"/>
                    <a:pt x="126524" y="161336"/>
                    <a:pt x="124472" y="163068"/>
                  </a:cubicBezTo>
                  <a:cubicBezTo>
                    <a:pt x="123380" y="163770"/>
                    <a:pt x="122532" y="164800"/>
                    <a:pt x="122038" y="166006"/>
                  </a:cubicBezTo>
                  <a:cubicBezTo>
                    <a:pt x="121199" y="167475"/>
                    <a:pt x="120874" y="169185"/>
                    <a:pt x="121118" y="170852"/>
                  </a:cubicBezTo>
                  <a:cubicBezTo>
                    <a:pt x="116602" y="204944"/>
                    <a:pt x="119253" y="239629"/>
                    <a:pt x="128901" y="272647"/>
                  </a:cubicBezTo>
                  <a:cubicBezTo>
                    <a:pt x="113583" y="262540"/>
                    <a:pt x="98506" y="252082"/>
                    <a:pt x="83670" y="241229"/>
                  </a:cubicBezTo>
                  <a:cubicBezTo>
                    <a:pt x="67008" y="229039"/>
                    <a:pt x="48460" y="216783"/>
                    <a:pt x="35699" y="200274"/>
                  </a:cubicBezTo>
                  <a:cubicBezTo>
                    <a:pt x="-9706" y="138886"/>
                    <a:pt x="18840" y="27553"/>
                    <a:pt x="100223" y="15450"/>
                  </a:cubicBezTo>
                  <a:cubicBezTo>
                    <a:pt x="169505" y="7667"/>
                    <a:pt x="206601" y="72783"/>
                    <a:pt x="183054" y="133777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53" name="CustomShape 6"/>
            <p:cNvSpPr/>
            <p:nvPr/>
          </p:nvSpPr>
          <p:spPr>
            <a:xfrm>
              <a:off x="1007280" y="372240"/>
              <a:ext cx="420840" cy="613080"/>
            </a:xfrm>
            <a:custGeom>
              <a:avLst/>
              <a:gdLst/>
              <a:ahLst/>
              <a:cxnLst/>
              <a:rect l="l" t="t" r="r" b="b"/>
              <a:pathLst>
                <a:path w="199595" h="290760">
                  <a:moveTo>
                    <a:pt x="136439" y="3825"/>
                  </a:moveTo>
                  <a:cubicBezTo>
                    <a:pt x="96098" y="-8299"/>
                    <a:pt x="53476" y="9504"/>
                    <a:pt x="27803" y="41623"/>
                  </a:cubicBezTo>
                  <a:cubicBezTo>
                    <a:pt x="-1182" y="77908"/>
                    <a:pt x="-6334" y="128751"/>
                    <a:pt x="6930" y="172359"/>
                  </a:cubicBezTo>
                  <a:cubicBezTo>
                    <a:pt x="15021" y="198932"/>
                    <a:pt x="32494" y="217063"/>
                    <a:pt x="54090" y="233616"/>
                  </a:cubicBezTo>
                  <a:cubicBezTo>
                    <a:pt x="79040" y="252735"/>
                    <a:pt x="104911" y="270603"/>
                    <a:pt x="131352" y="287573"/>
                  </a:cubicBezTo>
                  <a:cubicBezTo>
                    <a:pt x="132626" y="288472"/>
                    <a:pt x="134211" y="288801"/>
                    <a:pt x="135737" y="288494"/>
                  </a:cubicBezTo>
                  <a:cubicBezTo>
                    <a:pt x="137241" y="289678"/>
                    <a:pt x="139037" y="290423"/>
                    <a:pt x="140933" y="290686"/>
                  </a:cubicBezTo>
                  <a:cubicBezTo>
                    <a:pt x="149813" y="291914"/>
                    <a:pt x="153343" y="277641"/>
                    <a:pt x="144003" y="276347"/>
                  </a:cubicBezTo>
                  <a:cubicBezTo>
                    <a:pt x="142556" y="276150"/>
                    <a:pt x="137842" y="254664"/>
                    <a:pt x="137009" y="251332"/>
                  </a:cubicBezTo>
                  <a:cubicBezTo>
                    <a:pt x="130839" y="225943"/>
                    <a:pt x="129125" y="199677"/>
                    <a:pt x="131944" y="173697"/>
                  </a:cubicBezTo>
                  <a:cubicBezTo>
                    <a:pt x="172768" y="178893"/>
                    <a:pt x="198091" y="140481"/>
                    <a:pt x="199318" y="103341"/>
                  </a:cubicBezTo>
                  <a:cubicBezTo>
                    <a:pt x="202300" y="58352"/>
                    <a:pt x="181253" y="17287"/>
                    <a:pt x="136439" y="3825"/>
                  </a:cubicBezTo>
                  <a:close/>
                  <a:moveTo>
                    <a:pt x="178907" y="130768"/>
                  </a:moveTo>
                  <a:cubicBezTo>
                    <a:pt x="170794" y="149799"/>
                    <a:pt x="150251" y="165541"/>
                    <a:pt x="128897" y="158042"/>
                  </a:cubicBezTo>
                  <a:cubicBezTo>
                    <a:pt x="126417" y="157187"/>
                    <a:pt x="123670" y="157692"/>
                    <a:pt x="121662" y="159380"/>
                  </a:cubicBezTo>
                  <a:cubicBezTo>
                    <a:pt x="120592" y="160082"/>
                    <a:pt x="119756" y="161068"/>
                    <a:pt x="119272" y="162252"/>
                  </a:cubicBezTo>
                  <a:cubicBezTo>
                    <a:pt x="118458" y="163699"/>
                    <a:pt x="118143" y="165343"/>
                    <a:pt x="118373" y="166988"/>
                  </a:cubicBezTo>
                  <a:cubicBezTo>
                    <a:pt x="113973" y="200335"/>
                    <a:pt x="116571" y="234230"/>
                    <a:pt x="126003" y="266503"/>
                  </a:cubicBezTo>
                  <a:cubicBezTo>
                    <a:pt x="111006" y="256615"/>
                    <a:pt x="96266" y="246399"/>
                    <a:pt x="81781" y="235809"/>
                  </a:cubicBezTo>
                  <a:cubicBezTo>
                    <a:pt x="65491" y="223882"/>
                    <a:pt x="47359" y="211911"/>
                    <a:pt x="34884" y="195775"/>
                  </a:cubicBezTo>
                  <a:cubicBezTo>
                    <a:pt x="-9491" y="135855"/>
                    <a:pt x="18419" y="26955"/>
                    <a:pt x="97961" y="15116"/>
                  </a:cubicBezTo>
                  <a:cubicBezTo>
                    <a:pt x="165664" y="7508"/>
                    <a:pt x="202015" y="71133"/>
                    <a:pt x="178907" y="130768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54" name="CustomShape 7"/>
            <p:cNvSpPr/>
            <p:nvPr/>
          </p:nvSpPr>
          <p:spPr>
            <a:xfrm>
              <a:off x="1305000" y="475200"/>
              <a:ext cx="59040" cy="175320"/>
            </a:xfrm>
            <a:custGeom>
              <a:avLst/>
              <a:gdLst/>
              <a:ahLst/>
              <a:cxnLst/>
              <a:rect l="l" t="t" r="r" b="b"/>
              <a:pathLst>
                <a:path w="28156" h="83229">
                  <a:moveTo>
                    <a:pt x="12001" y="2074"/>
                  </a:moveTo>
                  <a:cubicBezTo>
                    <a:pt x="5687" y="-4723"/>
                    <a:pt x="-4289" y="6788"/>
                    <a:pt x="2004" y="13584"/>
                  </a:cubicBezTo>
                  <a:cubicBezTo>
                    <a:pt x="17298" y="29699"/>
                    <a:pt x="17395" y="54956"/>
                    <a:pt x="2223" y="71180"/>
                  </a:cubicBezTo>
                  <a:cubicBezTo>
                    <a:pt x="-4354" y="78459"/>
                    <a:pt x="6608" y="87887"/>
                    <a:pt x="13054" y="80608"/>
                  </a:cubicBezTo>
                  <a:cubicBezTo>
                    <a:pt x="33750" y="57455"/>
                    <a:pt x="32961" y="24678"/>
                    <a:pt x="12001" y="2074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55" name="CustomShape 8"/>
            <p:cNvSpPr/>
            <p:nvPr/>
          </p:nvSpPr>
          <p:spPr>
            <a:xfrm>
              <a:off x="1260720" y="642600"/>
              <a:ext cx="29880" cy="30960"/>
            </a:xfrm>
            <a:custGeom>
              <a:avLst/>
              <a:gdLst/>
              <a:ahLst/>
              <a:cxnLst/>
              <a:rect l="l" t="t" r="r" b="b"/>
              <a:pathLst>
                <a:path w="14254" h="14799">
                  <a:moveTo>
                    <a:pt x="6816" y="0"/>
                  </a:moveTo>
                  <a:cubicBezTo>
                    <a:pt x="-2458" y="0"/>
                    <a:pt x="-2283" y="14799"/>
                    <a:pt x="7430" y="14799"/>
                  </a:cubicBezTo>
                  <a:cubicBezTo>
                    <a:pt x="16726" y="14799"/>
                    <a:pt x="16529" y="0"/>
                    <a:pt x="6816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156" name="CustomShape 9"/>
            <p:cNvSpPr/>
            <p:nvPr/>
          </p:nvSpPr>
          <p:spPr>
            <a:xfrm>
              <a:off x="611640" y="601560"/>
              <a:ext cx="103680" cy="202680"/>
            </a:xfrm>
            <a:custGeom>
              <a:avLst/>
              <a:gdLst/>
              <a:ahLst/>
              <a:cxnLst/>
              <a:rect l="l" t="t" r="r" b="b"/>
              <a:pathLst>
                <a:path w="49274" h="96171">
                  <a:moveTo>
                    <a:pt x="46778" y="83022"/>
                  </a:moveTo>
                  <a:cubicBezTo>
                    <a:pt x="27791" y="67456"/>
                    <a:pt x="9199" y="33057"/>
                    <a:pt x="16281" y="8194"/>
                  </a:cubicBezTo>
                  <a:cubicBezTo>
                    <a:pt x="18978" y="-1277"/>
                    <a:pt x="4442" y="-3163"/>
                    <a:pt x="1877" y="5848"/>
                  </a:cubicBezTo>
                  <a:cubicBezTo>
                    <a:pt x="-2947" y="22796"/>
                    <a:pt x="2271" y="39436"/>
                    <a:pt x="9112" y="55091"/>
                  </a:cubicBezTo>
                  <a:cubicBezTo>
                    <a:pt x="15689" y="70153"/>
                    <a:pt x="23933" y="83965"/>
                    <a:pt x="36802" y="94555"/>
                  </a:cubicBezTo>
                  <a:cubicBezTo>
                    <a:pt x="43994" y="100409"/>
                    <a:pt x="53991" y="88920"/>
                    <a:pt x="46778" y="83022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sp>
        <p:nvSpPr>
          <p:cNvPr id="157" name="PlaceHolder 10"/>
          <p:cNvSpPr>
            <a:spLocks noGrp="1"/>
          </p:cNvSpPr>
          <p:nvPr>
            <p:ph type="body"/>
          </p:nvPr>
        </p:nvSpPr>
        <p:spPr>
          <a:xfrm>
            <a:off x="1714320" y="1186920"/>
            <a:ext cx="5715000" cy="27694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800" b="0" strike="noStrike" spc="-1">
                <a:solidFill>
                  <a:srgbClr val="000000"/>
                </a:solidFill>
                <a:latin typeface="Arial"/>
              </a:rPr>
              <a:t>Clique para editar o formato do texto da estrutura de tópicos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2800" b="0" strike="noStrike" spc="-1">
                <a:solidFill>
                  <a:srgbClr val="000000"/>
                </a:solidFill>
                <a:latin typeface="Arial"/>
              </a:rPr>
              <a:t>2.º nível da estrutura de tópicos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800" b="0" strike="noStrike" spc="-1">
                <a:solidFill>
                  <a:srgbClr val="000000"/>
                </a:solidFill>
                <a:latin typeface="Arial"/>
              </a:rPr>
              <a:t>3.º nível da estrutura de tópicos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2800" b="0" strike="noStrike" spc="-1">
                <a:solidFill>
                  <a:srgbClr val="000000"/>
                </a:solidFill>
                <a:latin typeface="Arial"/>
              </a:rPr>
              <a:t>4.º nível da estrutura de tópicos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800" b="0" strike="noStrike" spc="-1">
                <a:solidFill>
                  <a:srgbClr val="000000"/>
                </a:solidFill>
                <a:latin typeface="Arial"/>
              </a:rPr>
              <a:t>5.º nível da estrutura de tópicos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800" b="0" strike="noStrike" spc="-1">
                <a:solidFill>
                  <a:srgbClr val="000000"/>
                </a:solidFill>
                <a:latin typeface="Arial"/>
              </a:rPr>
              <a:t>6.º nível da estrutura de tópicos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800" b="0" strike="noStrike" spc="-1">
                <a:solidFill>
                  <a:srgbClr val="000000"/>
                </a:solidFill>
                <a:latin typeface="Arial"/>
              </a:rPr>
              <a:t>7.º nível da estrutura de tópicos</a:t>
            </a:r>
          </a:p>
        </p:txBody>
      </p:sp>
      <p:sp>
        <p:nvSpPr>
          <p:cNvPr id="158" name="PlaceHolder 11"/>
          <p:cNvSpPr>
            <a:spLocks noGrp="1"/>
          </p:cNvSpPr>
          <p:nvPr>
            <p:ph type="sldNum"/>
          </p:nvPr>
        </p:nvSpPr>
        <p:spPr>
          <a:xfrm>
            <a:off x="8404200" y="4693320"/>
            <a:ext cx="548280" cy="299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AB1687C0-1F57-46FB-A3F3-E195348A4237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‹nº›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159" name="CustomShape 12"/>
          <p:cNvSpPr/>
          <p:nvPr/>
        </p:nvSpPr>
        <p:spPr>
          <a:xfrm rot="10946400">
            <a:off x="308880" y="3412440"/>
            <a:ext cx="814680" cy="1023120"/>
          </a:xfrm>
          <a:custGeom>
            <a:avLst/>
            <a:gdLst/>
            <a:ahLst/>
            <a:cxnLst/>
            <a:rect l="l" t="t" r="r" b="b"/>
            <a:pathLst>
              <a:path w="385904" h="484587">
                <a:moveTo>
                  <a:pt x="316148" y="219239"/>
                </a:moveTo>
                <a:cubicBezTo>
                  <a:pt x="261491" y="116194"/>
                  <a:pt x="157744" y="32311"/>
                  <a:pt x="38101" y="26786"/>
                </a:cubicBezTo>
                <a:cubicBezTo>
                  <a:pt x="47463" y="22510"/>
                  <a:pt x="56935" y="18432"/>
                  <a:pt x="66471" y="14530"/>
                </a:cubicBezTo>
                <a:cubicBezTo>
                  <a:pt x="75241" y="10978"/>
                  <a:pt x="71273" y="-3010"/>
                  <a:pt x="62086" y="586"/>
                </a:cubicBezTo>
                <a:cubicBezTo>
                  <a:pt x="42552" y="8566"/>
                  <a:pt x="23390" y="17336"/>
                  <a:pt x="4578" y="26895"/>
                </a:cubicBezTo>
                <a:cubicBezTo>
                  <a:pt x="-2854" y="30645"/>
                  <a:pt x="-508" y="42440"/>
                  <a:pt x="6398" y="41585"/>
                </a:cubicBezTo>
                <a:cubicBezTo>
                  <a:pt x="7473" y="41870"/>
                  <a:pt x="8591" y="41957"/>
                  <a:pt x="9709" y="41826"/>
                </a:cubicBezTo>
                <a:cubicBezTo>
                  <a:pt x="22162" y="48710"/>
                  <a:pt x="33190" y="57875"/>
                  <a:pt x="42267" y="68837"/>
                </a:cubicBezTo>
                <a:cubicBezTo>
                  <a:pt x="48231" y="76094"/>
                  <a:pt x="60618" y="67368"/>
                  <a:pt x="54786" y="60265"/>
                </a:cubicBezTo>
                <a:cubicBezTo>
                  <a:pt x="49217" y="53468"/>
                  <a:pt x="42990" y="47241"/>
                  <a:pt x="36216" y="41650"/>
                </a:cubicBezTo>
                <a:cubicBezTo>
                  <a:pt x="257544" y="58730"/>
                  <a:pt x="357411" y="281133"/>
                  <a:pt x="371135" y="478147"/>
                </a:cubicBezTo>
                <a:cubicBezTo>
                  <a:pt x="372034" y="487859"/>
                  <a:pt x="386723" y="485952"/>
                  <a:pt x="385869" y="476678"/>
                </a:cubicBezTo>
                <a:cubicBezTo>
                  <a:pt x="377756" y="387730"/>
                  <a:pt x="358704" y="298409"/>
                  <a:pt x="316148" y="219239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0" name="CustomShape 13"/>
          <p:cNvSpPr/>
          <p:nvPr/>
        </p:nvSpPr>
        <p:spPr>
          <a:xfrm rot="5624400">
            <a:off x="8289720" y="2866680"/>
            <a:ext cx="539640" cy="263880"/>
          </a:xfrm>
          <a:custGeom>
            <a:avLst/>
            <a:gdLst/>
            <a:ahLst/>
            <a:cxnLst/>
            <a:rect l="l" t="t" r="r" b="b"/>
            <a:pathLst>
              <a:path w="256043" h="125260">
                <a:moveTo>
                  <a:pt x="122835" y="3891"/>
                </a:moveTo>
                <a:cubicBezTo>
                  <a:pt x="106677" y="35258"/>
                  <a:pt x="90541" y="66632"/>
                  <a:pt x="74404" y="98013"/>
                </a:cubicBezTo>
                <a:cubicBezTo>
                  <a:pt x="67103" y="82972"/>
                  <a:pt x="59737" y="67939"/>
                  <a:pt x="52348" y="52914"/>
                </a:cubicBezTo>
                <a:cubicBezTo>
                  <a:pt x="49783" y="47630"/>
                  <a:pt x="41583" y="45218"/>
                  <a:pt x="38602" y="51708"/>
                </a:cubicBezTo>
                <a:cubicBezTo>
                  <a:pt x="30007" y="70416"/>
                  <a:pt x="17598" y="87110"/>
                  <a:pt x="2141" y="100709"/>
                </a:cubicBezTo>
                <a:cubicBezTo>
                  <a:pt x="-4787" y="106848"/>
                  <a:pt x="6723" y="116802"/>
                  <a:pt x="13629" y="110685"/>
                </a:cubicBezTo>
                <a:cubicBezTo>
                  <a:pt x="26258" y="99453"/>
                  <a:pt x="36979" y="86235"/>
                  <a:pt x="45354" y="71550"/>
                </a:cubicBezTo>
                <a:lnTo>
                  <a:pt x="67432" y="116670"/>
                </a:lnTo>
                <a:cubicBezTo>
                  <a:pt x="70107" y="122174"/>
                  <a:pt x="77978" y="124147"/>
                  <a:pt x="81179" y="117876"/>
                </a:cubicBezTo>
                <a:lnTo>
                  <a:pt x="128580" y="25793"/>
                </a:lnTo>
                <a:cubicBezTo>
                  <a:pt x="139147" y="55900"/>
                  <a:pt x="147259" y="86822"/>
                  <a:pt x="152784" y="118249"/>
                </a:cubicBezTo>
                <a:cubicBezTo>
                  <a:pt x="153969" y="125024"/>
                  <a:pt x="163462" y="128422"/>
                  <a:pt x="166970" y="121318"/>
                </a:cubicBezTo>
                <a:cubicBezTo>
                  <a:pt x="177515" y="99979"/>
                  <a:pt x="188039" y="78638"/>
                  <a:pt x="198585" y="57299"/>
                </a:cubicBezTo>
                <a:cubicBezTo>
                  <a:pt x="214107" y="75321"/>
                  <a:pt x="228819" y="94022"/>
                  <a:pt x="242434" y="113469"/>
                </a:cubicBezTo>
                <a:cubicBezTo>
                  <a:pt x="247959" y="121297"/>
                  <a:pt x="260259" y="113711"/>
                  <a:pt x="254580" y="105686"/>
                </a:cubicBezTo>
                <a:cubicBezTo>
                  <a:pt x="238509" y="82896"/>
                  <a:pt x="221145" y="61039"/>
                  <a:pt x="202575" y="40220"/>
                </a:cubicBezTo>
                <a:cubicBezTo>
                  <a:pt x="199023" y="36229"/>
                  <a:pt x="192512" y="35089"/>
                  <a:pt x="189705" y="40746"/>
                </a:cubicBezTo>
                <a:lnTo>
                  <a:pt x="163001" y="94899"/>
                </a:lnTo>
                <a:cubicBezTo>
                  <a:pt x="156468" y="64295"/>
                  <a:pt x="147566" y="34241"/>
                  <a:pt x="136407" y="5009"/>
                </a:cubicBezTo>
                <a:cubicBezTo>
                  <a:pt x="134324" y="-823"/>
                  <a:pt x="125861" y="-2029"/>
                  <a:pt x="122835" y="389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1" name="CustomShape 14"/>
          <p:cNvSpPr/>
          <p:nvPr/>
        </p:nvSpPr>
        <p:spPr>
          <a:xfrm rot="5400000">
            <a:off x="6259320" y="-118800"/>
            <a:ext cx="113040" cy="953640"/>
          </a:xfrm>
          <a:custGeom>
            <a:avLst/>
            <a:gdLst/>
            <a:ahLst/>
            <a:cxnLst/>
            <a:rect l="l" t="t" r="r" b="b"/>
            <a:pathLst>
              <a:path w="53711" h="452156">
                <a:moveTo>
                  <a:pt x="39194" y="6047"/>
                </a:moveTo>
                <a:cubicBezTo>
                  <a:pt x="16217" y="151582"/>
                  <a:pt x="8039" y="298805"/>
                  <a:pt x="15" y="445744"/>
                </a:cubicBezTo>
                <a:cubicBezTo>
                  <a:pt x="-533" y="455478"/>
                  <a:pt x="14244" y="453439"/>
                  <a:pt x="14748" y="444275"/>
                </a:cubicBezTo>
                <a:cubicBezTo>
                  <a:pt x="22707" y="298586"/>
                  <a:pt x="30819" y="152678"/>
                  <a:pt x="53598" y="8393"/>
                </a:cubicBezTo>
                <a:cubicBezTo>
                  <a:pt x="55133" y="-1298"/>
                  <a:pt x="40597" y="-3271"/>
                  <a:pt x="39194" y="6047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2" name="CustomShape 15"/>
          <p:cNvSpPr/>
          <p:nvPr/>
        </p:nvSpPr>
        <p:spPr>
          <a:xfrm rot="5400000">
            <a:off x="6459840" y="73080"/>
            <a:ext cx="79920" cy="398520"/>
          </a:xfrm>
          <a:custGeom>
            <a:avLst/>
            <a:gdLst/>
            <a:ahLst/>
            <a:cxnLst/>
            <a:rect l="l" t="t" r="r" b="b"/>
            <a:pathLst>
              <a:path w="38122" h="189118">
                <a:moveTo>
                  <a:pt x="23673" y="6072"/>
                </a:moveTo>
                <a:cubicBezTo>
                  <a:pt x="15809" y="64288"/>
                  <a:pt x="7945" y="122498"/>
                  <a:pt x="82" y="180701"/>
                </a:cubicBezTo>
                <a:cubicBezTo>
                  <a:pt x="-1212" y="190414"/>
                  <a:pt x="13237" y="192409"/>
                  <a:pt x="14486" y="183047"/>
                </a:cubicBezTo>
                <a:cubicBezTo>
                  <a:pt x="22364" y="124844"/>
                  <a:pt x="30213" y="66634"/>
                  <a:pt x="38033" y="8418"/>
                </a:cubicBezTo>
                <a:cubicBezTo>
                  <a:pt x="39393" y="-1295"/>
                  <a:pt x="24879" y="-3290"/>
                  <a:pt x="23673" y="607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3" name="CustomShape 16"/>
          <p:cNvSpPr/>
          <p:nvPr/>
        </p:nvSpPr>
        <p:spPr>
          <a:xfrm flipH="1">
            <a:off x="486000" y="253800"/>
            <a:ext cx="290160" cy="230760"/>
          </a:xfrm>
          <a:custGeom>
            <a:avLst/>
            <a:gdLst/>
            <a:ahLst/>
            <a:cxnLst/>
            <a:rect l="l" t="t" r="r" b="b"/>
            <a:pathLst>
              <a:path w="137618" h="109585">
                <a:moveTo>
                  <a:pt x="136999" y="99882"/>
                </a:moveTo>
                <a:cubicBezTo>
                  <a:pt x="113869" y="47085"/>
                  <a:pt x="65635" y="9548"/>
                  <a:pt x="8785" y="104"/>
                </a:cubicBezTo>
                <a:cubicBezTo>
                  <a:pt x="-292" y="-1365"/>
                  <a:pt x="-3910" y="13258"/>
                  <a:pt x="5627" y="14771"/>
                </a:cubicBezTo>
                <a:cubicBezTo>
                  <a:pt x="57435" y="23274"/>
                  <a:pt x="101482" y="57237"/>
                  <a:pt x="122902" y="105166"/>
                </a:cubicBezTo>
                <a:cubicBezTo>
                  <a:pt x="126738" y="113936"/>
                  <a:pt x="140705" y="108323"/>
                  <a:pt x="136999" y="9988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4" name="CustomShape 17"/>
          <p:cNvSpPr/>
          <p:nvPr/>
        </p:nvSpPr>
        <p:spPr>
          <a:xfrm flipH="1">
            <a:off x="508680" y="230760"/>
            <a:ext cx="132120" cy="90720"/>
          </a:xfrm>
          <a:custGeom>
            <a:avLst/>
            <a:gdLst/>
            <a:ahLst/>
            <a:cxnLst/>
            <a:rect l="l" t="t" r="r" b="b"/>
            <a:pathLst>
              <a:path w="62762" h="43243">
                <a:moveTo>
                  <a:pt x="60351" y="30032"/>
                </a:moveTo>
                <a:cubicBezTo>
                  <a:pt x="45705" y="17367"/>
                  <a:pt x="28955" y="7372"/>
                  <a:pt x="10845" y="500"/>
                </a:cubicBezTo>
                <a:cubicBezTo>
                  <a:pt x="2273" y="-2745"/>
                  <a:pt x="-4765" y="10739"/>
                  <a:pt x="4092" y="14093"/>
                </a:cubicBezTo>
                <a:cubicBezTo>
                  <a:pt x="20996" y="20446"/>
                  <a:pt x="36672" y="29731"/>
                  <a:pt x="50353" y="41521"/>
                </a:cubicBezTo>
                <a:cubicBezTo>
                  <a:pt x="57413" y="47594"/>
                  <a:pt x="67410" y="36127"/>
                  <a:pt x="60351" y="3003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5" name="PlaceHolder 18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Clique para editar o formato do texto do título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CustomShape 1"/>
          <p:cNvSpPr/>
          <p:nvPr/>
        </p:nvSpPr>
        <p:spPr>
          <a:xfrm rot="20715000">
            <a:off x="7997040" y="3564720"/>
            <a:ext cx="912600" cy="928080"/>
          </a:xfrm>
          <a:custGeom>
            <a:avLst/>
            <a:gdLst/>
            <a:ahLst/>
            <a:cxnLst/>
            <a:rect l="l" t="t" r="r" b="b"/>
            <a:pathLst>
              <a:path w="549996" h="559316">
                <a:moveTo>
                  <a:pt x="536665" y="198722"/>
                </a:moveTo>
                <a:cubicBezTo>
                  <a:pt x="507988" y="55467"/>
                  <a:pt x="324589" y="-49573"/>
                  <a:pt x="179295" y="24291"/>
                </a:cubicBezTo>
                <a:cubicBezTo>
                  <a:pt x="17974" y="106420"/>
                  <a:pt x="-81169" y="375917"/>
                  <a:pt x="88111" y="512244"/>
                </a:cubicBezTo>
                <a:cubicBezTo>
                  <a:pt x="141168" y="554536"/>
                  <a:pt x="210888" y="558504"/>
                  <a:pt x="276092" y="557584"/>
                </a:cubicBezTo>
                <a:cubicBezTo>
                  <a:pt x="484178" y="579947"/>
                  <a:pt x="588999" y="381814"/>
                  <a:pt x="536665" y="19872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03" name="CustomShape 2"/>
          <p:cNvSpPr/>
          <p:nvPr/>
        </p:nvSpPr>
        <p:spPr>
          <a:xfrm>
            <a:off x="642600" y="331920"/>
            <a:ext cx="6942960" cy="927360"/>
          </a:xfrm>
          <a:custGeom>
            <a:avLst/>
            <a:gdLst/>
            <a:ahLst/>
            <a:cxnLst/>
            <a:rect l="l" t="t" r="r" b="b"/>
            <a:pathLst>
              <a:path w="3290684" h="399035">
                <a:moveTo>
                  <a:pt x="3288221" y="146895"/>
                </a:moveTo>
                <a:cubicBezTo>
                  <a:pt x="3288879" y="83708"/>
                  <a:pt x="3268160" y="25739"/>
                  <a:pt x="3196488" y="21201"/>
                </a:cubicBezTo>
                <a:cubicBezTo>
                  <a:pt x="2907830" y="16005"/>
                  <a:pt x="2618711" y="18197"/>
                  <a:pt x="2329921" y="14777"/>
                </a:cubicBezTo>
                <a:cubicBezTo>
                  <a:pt x="1580495" y="9866"/>
                  <a:pt x="931222" y="0"/>
                  <a:pt x="181841" y="0"/>
                </a:cubicBezTo>
                <a:cubicBezTo>
                  <a:pt x="-44245" y="0"/>
                  <a:pt x="4866" y="162044"/>
                  <a:pt x="3813" y="206244"/>
                </a:cubicBezTo>
                <a:cubicBezTo>
                  <a:pt x="-6272" y="347395"/>
                  <a:pt x="64456" y="394927"/>
                  <a:pt x="198174" y="383395"/>
                </a:cubicBezTo>
                <a:lnTo>
                  <a:pt x="1064019" y="387780"/>
                </a:lnTo>
                <a:lnTo>
                  <a:pt x="2795708" y="396549"/>
                </a:lnTo>
                <a:cubicBezTo>
                  <a:pt x="2909277" y="397119"/>
                  <a:pt x="3023284" y="400671"/>
                  <a:pt x="3136832" y="398128"/>
                </a:cubicBezTo>
                <a:cubicBezTo>
                  <a:pt x="3275790" y="400627"/>
                  <a:pt x="3299512" y="257767"/>
                  <a:pt x="3288221" y="14689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04" name="CustomShape 3"/>
          <p:cNvSpPr/>
          <p:nvPr/>
        </p:nvSpPr>
        <p:spPr>
          <a:xfrm>
            <a:off x="368280" y="422280"/>
            <a:ext cx="8379360" cy="4302360"/>
          </a:xfrm>
          <a:custGeom>
            <a:avLst/>
            <a:gdLst/>
            <a:ahLst/>
            <a:cxnLst/>
            <a:rect l="l" t="t" r="r" b="b"/>
            <a:pathLst>
              <a:path w="3971497" h="2039137">
                <a:moveTo>
                  <a:pt x="3947725" y="299512"/>
                </a:moveTo>
                <a:cubicBezTo>
                  <a:pt x="3924134" y="113307"/>
                  <a:pt x="3885284" y="33501"/>
                  <a:pt x="3686450" y="8902"/>
                </a:cubicBezTo>
                <a:cubicBezTo>
                  <a:pt x="3601997" y="-3398"/>
                  <a:pt x="3538196" y="330"/>
                  <a:pt x="3453085" y="1250"/>
                </a:cubicBezTo>
                <a:cubicBezTo>
                  <a:pt x="2545650" y="21443"/>
                  <a:pt x="1638390" y="51765"/>
                  <a:pt x="731371" y="878"/>
                </a:cubicBezTo>
                <a:cubicBezTo>
                  <a:pt x="642467" y="-87"/>
                  <a:pt x="553519" y="1250"/>
                  <a:pt x="464769" y="6534"/>
                </a:cubicBezTo>
                <a:cubicBezTo>
                  <a:pt x="385183" y="11292"/>
                  <a:pt x="302374" y="15304"/>
                  <a:pt x="224563" y="33743"/>
                </a:cubicBezTo>
                <a:cubicBezTo>
                  <a:pt x="159908" y="49090"/>
                  <a:pt x="106653" y="83204"/>
                  <a:pt x="86570" y="149329"/>
                </a:cubicBezTo>
                <a:cubicBezTo>
                  <a:pt x="9067" y="671747"/>
                  <a:pt x="-7925" y="1209227"/>
                  <a:pt x="2994" y="1737127"/>
                </a:cubicBezTo>
                <a:cubicBezTo>
                  <a:pt x="7729" y="2035301"/>
                  <a:pt x="225024" y="2012784"/>
                  <a:pt x="454881" y="2012828"/>
                </a:cubicBezTo>
                <a:cubicBezTo>
                  <a:pt x="1452075" y="2021379"/>
                  <a:pt x="2463170" y="2030543"/>
                  <a:pt x="3459136" y="2039138"/>
                </a:cubicBezTo>
                <a:cubicBezTo>
                  <a:pt x="3468432" y="2039138"/>
                  <a:pt x="3468235" y="2024426"/>
                  <a:pt x="3458544" y="2024339"/>
                </a:cubicBezTo>
                <a:cubicBezTo>
                  <a:pt x="2395752" y="2013552"/>
                  <a:pt x="1331030" y="2008487"/>
                  <a:pt x="268237" y="1995157"/>
                </a:cubicBezTo>
                <a:cubicBezTo>
                  <a:pt x="201871" y="1991167"/>
                  <a:pt x="129981" y="1978933"/>
                  <a:pt x="80870" y="1929997"/>
                </a:cubicBezTo>
                <a:cubicBezTo>
                  <a:pt x="27856" y="1877181"/>
                  <a:pt x="19898" y="1797332"/>
                  <a:pt x="17289" y="1726406"/>
                </a:cubicBezTo>
                <a:cubicBezTo>
                  <a:pt x="11150" y="1553355"/>
                  <a:pt x="12904" y="1379647"/>
                  <a:pt x="17289" y="1206596"/>
                </a:cubicBezTo>
                <a:cubicBezTo>
                  <a:pt x="24962" y="897125"/>
                  <a:pt x="46317" y="588368"/>
                  <a:pt x="81352" y="280328"/>
                </a:cubicBezTo>
                <a:cubicBezTo>
                  <a:pt x="89990" y="206026"/>
                  <a:pt x="89333" y="112868"/>
                  <a:pt x="163591" y="71825"/>
                </a:cubicBezTo>
                <a:cubicBezTo>
                  <a:pt x="194285" y="54286"/>
                  <a:pt x="229825" y="46349"/>
                  <a:pt x="264444" y="40978"/>
                </a:cubicBezTo>
                <a:cubicBezTo>
                  <a:pt x="347341" y="28174"/>
                  <a:pt x="431728" y="22408"/>
                  <a:pt x="515502" y="18746"/>
                </a:cubicBezTo>
                <a:cubicBezTo>
                  <a:pt x="692894" y="11029"/>
                  <a:pt x="870483" y="17869"/>
                  <a:pt x="1047743" y="26113"/>
                </a:cubicBezTo>
                <a:cubicBezTo>
                  <a:pt x="1755029" y="63845"/>
                  <a:pt x="2462863" y="37711"/>
                  <a:pt x="3170346" y="20654"/>
                </a:cubicBezTo>
                <a:cubicBezTo>
                  <a:pt x="3346028" y="20478"/>
                  <a:pt x="3500947" y="3289"/>
                  <a:pt x="3675948" y="22605"/>
                </a:cubicBezTo>
                <a:cubicBezTo>
                  <a:pt x="3819576" y="42556"/>
                  <a:pt x="3893001" y="73821"/>
                  <a:pt x="3920034" y="229880"/>
                </a:cubicBezTo>
                <a:cubicBezTo>
                  <a:pt x="4003348" y="663591"/>
                  <a:pt x="3918609" y="1093707"/>
                  <a:pt x="3926392" y="1543489"/>
                </a:cubicBezTo>
                <a:cubicBezTo>
                  <a:pt x="3926568" y="1553092"/>
                  <a:pt x="3940665" y="1547436"/>
                  <a:pt x="3940490" y="1538337"/>
                </a:cubicBezTo>
                <a:cubicBezTo>
                  <a:pt x="3933321" y="1127383"/>
                  <a:pt x="4008215" y="711694"/>
                  <a:pt x="3947725" y="29951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05" name="PlaceHolder 4"/>
          <p:cNvSpPr>
            <a:spLocks noGrp="1"/>
          </p:cNvSpPr>
          <p:nvPr>
            <p:ph type="title"/>
          </p:nvPr>
        </p:nvSpPr>
        <p:spPr>
          <a:xfrm>
            <a:off x="883440" y="683640"/>
            <a:ext cx="6426000" cy="396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r>
              <a:rPr lang="pt-BR" sz="3400" b="0" strike="noStrike" spc="-1">
                <a:solidFill>
                  <a:srgbClr val="000000"/>
                </a:solidFill>
                <a:latin typeface="Arial"/>
              </a:rPr>
              <a:t>Clique para editar o formato do texto do título</a:t>
            </a:r>
          </a:p>
        </p:txBody>
      </p:sp>
      <p:sp>
        <p:nvSpPr>
          <p:cNvPr id="206" name="PlaceHolder 5"/>
          <p:cNvSpPr>
            <a:spLocks noGrp="1"/>
          </p:cNvSpPr>
          <p:nvPr>
            <p:ph type="sldNum"/>
          </p:nvPr>
        </p:nvSpPr>
        <p:spPr>
          <a:xfrm>
            <a:off x="8404200" y="4693320"/>
            <a:ext cx="548280" cy="299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95C4A986-0678-4C94-A7AF-8DEB7A27A332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‹nº›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207" name="CustomShape 6"/>
          <p:cNvSpPr/>
          <p:nvPr/>
        </p:nvSpPr>
        <p:spPr>
          <a:xfrm>
            <a:off x="325440" y="1027800"/>
            <a:ext cx="113040" cy="953640"/>
          </a:xfrm>
          <a:custGeom>
            <a:avLst/>
            <a:gdLst/>
            <a:ahLst/>
            <a:cxnLst/>
            <a:rect l="l" t="t" r="r" b="b"/>
            <a:pathLst>
              <a:path w="53711" h="452156">
                <a:moveTo>
                  <a:pt x="39194" y="6047"/>
                </a:moveTo>
                <a:cubicBezTo>
                  <a:pt x="16217" y="151582"/>
                  <a:pt x="8039" y="298805"/>
                  <a:pt x="15" y="445744"/>
                </a:cubicBezTo>
                <a:cubicBezTo>
                  <a:pt x="-533" y="455478"/>
                  <a:pt x="14244" y="453439"/>
                  <a:pt x="14748" y="444275"/>
                </a:cubicBezTo>
                <a:cubicBezTo>
                  <a:pt x="22707" y="298586"/>
                  <a:pt x="30819" y="152678"/>
                  <a:pt x="53598" y="8393"/>
                </a:cubicBezTo>
                <a:cubicBezTo>
                  <a:pt x="55133" y="-1298"/>
                  <a:pt x="40597" y="-3271"/>
                  <a:pt x="39194" y="6047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08" name="CustomShape 7"/>
          <p:cNvSpPr/>
          <p:nvPr/>
        </p:nvSpPr>
        <p:spPr>
          <a:xfrm>
            <a:off x="257040" y="1121040"/>
            <a:ext cx="79920" cy="398520"/>
          </a:xfrm>
          <a:custGeom>
            <a:avLst/>
            <a:gdLst/>
            <a:ahLst/>
            <a:cxnLst/>
            <a:rect l="l" t="t" r="r" b="b"/>
            <a:pathLst>
              <a:path w="38122" h="189118">
                <a:moveTo>
                  <a:pt x="23673" y="6072"/>
                </a:moveTo>
                <a:cubicBezTo>
                  <a:pt x="15809" y="64288"/>
                  <a:pt x="7945" y="122498"/>
                  <a:pt x="82" y="180701"/>
                </a:cubicBezTo>
                <a:cubicBezTo>
                  <a:pt x="-1212" y="190414"/>
                  <a:pt x="13237" y="192409"/>
                  <a:pt x="14486" y="183047"/>
                </a:cubicBezTo>
                <a:cubicBezTo>
                  <a:pt x="22364" y="124844"/>
                  <a:pt x="30213" y="66634"/>
                  <a:pt x="38033" y="8418"/>
                </a:cubicBezTo>
                <a:cubicBezTo>
                  <a:pt x="39393" y="-1295"/>
                  <a:pt x="24879" y="-3290"/>
                  <a:pt x="23673" y="607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09" name="CustomShape 8"/>
          <p:cNvSpPr/>
          <p:nvPr/>
        </p:nvSpPr>
        <p:spPr>
          <a:xfrm>
            <a:off x="2910600" y="378000"/>
            <a:ext cx="1376640" cy="66600"/>
          </a:xfrm>
          <a:custGeom>
            <a:avLst/>
            <a:gdLst/>
            <a:ahLst/>
            <a:cxnLst/>
            <a:rect l="l" t="t" r="r" b="b"/>
            <a:pathLst>
              <a:path w="652626" h="31710">
                <a:moveTo>
                  <a:pt x="645179" y="13550"/>
                </a:moveTo>
                <a:cubicBezTo>
                  <a:pt x="432971" y="20774"/>
                  <a:pt x="220527" y="16258"/>
                  <a:pt x="8819" y="23"/>
                </a:cubicBezTo>
                <a:cubicBezTo>
                  <a:pt x="-280" y="-657"/>
                  <a:pt x="-3941" y="13989"/>
                  <a:pt x="5662" y="14712"/>
                </a:cubicBezTo>
                <a:cubicBezTo>
                  <a:pt x="218646" y="31045"/>
                  <a:pt x="432371" y="35612"/>
                  <a:pt x="645859" y="28393"/>
                </a:cubicBezTo>
                <a:cubicBezTo>
                  <a:pt x="655067" y="28043"/>
                  <a:pt x="654914" y="13178"/>
                  <a:pt x="645179" y="1355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10" name="CustomShape 9"/>
          <p:cNvSpPr/>
          <p:nvPr/>
        </p:nvSpPr>
        <p:spPr>
          <a:xfrm>
            <a:off x="4390560" y="411480"/>
            <a:ext cx="263520" cy="30960"/>
          </a:xfrm>
          <a:custGeom>
            <a:avLst/>
            <a:gdLst/>
            <a:ahLst/>
            <a:cxnLst/>
            <a:rect l="l" t="t" r="r" b="b"/>
            <a:pathLst>
              <a:path w="125099" h="14799">
                <a:moveTo>
                  <a:pt x="117661" y="0"/>
                </a:moveTo>
                <a:lnTo>
                  <a:pt x="6833" y="0"/>
                </a:lnTo>
                <a:cubicBezTo>
                  <a:pt x="-2463" y="0"/>
                  <a:pt x="-2288" y="14799"/>
                  <a:pt x="7446" y="14799"/>
                </a:cubicBezTo>
                <a:lnTo>
                  <a:pt x="118275" y="14799"/>
                </a:lnTo>
                <a:cubicBezTo>
                  <a:pt x="127571" y="14887"/>
                  <a:pt x="127374" y="0"/>
                  <a:pt x="117661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11" name="CustomShape 10"/>
          <p:cNvSpPr/>
          <p:nvPr/>
        </p:nvSpPr>
        <p:spPr>
          <a:xfrm>
            <a:off x="8371440" y="397440"/>
            <a:ext cx="290160" cy="230760"/>
          </a:xfrm>
          <a:custGeom>
            <a:avLst/>
            <a:gdLst/>
            <a:ahLst/>
            <a:cxnLst/>
            <a:rect l="l" t="t" r="r" b="b"/>
            <a:pathLst>
              <a:path w="137618" h="109585">
                <a:moveTo>
                  <a:pt x="136999" y="99882"/>
                </a:moveTo>
                <a:cubicBezTo>
                  <a:pt x="113869" y="47085"/>
                  <a:pt x="65635" y="9548"/>
                  <a:pt x="8785" y="104"/>
                </a:cubicBezTo>
                <a:cubicBezTo>
                  <a:pt x="-292" y="-1365"/>
                  <a:pt x="-3910" y="13258"/>
                  <a:pt x="5627" y="14771"/>
                </a:cubicBezTo>
                <a:cubicBezTo>
                  <a:pt x="57435" y="23274"/>
                  <a:pt x="101482" y="57237"/>
                  <a:pt x="122902" y="105166"/>
                </a:cubicBezTo>
                <a:cubicBezTo>
                  <a:pt x="126738" y="113936"/>
                  <a:pt x="140705" y="108323"/>
                  <a:pt x="136999" y="9988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12" name="CustomShape 11"/>
          <p:cNvSpPr/>
          <p:nvPr/>
        </p:nvSpPr>
        <p:spPr>
          <a:xfrm>
            <a:off x="8526240" y="347400"/>
            <a:ext cx="132120" cy="90720"/>
          </a:xfrm>
          <a:custGeom>
            <a:avLst/>
            <a:gdLst/>
            <a:ahLst/>
            <a:cxnLst/>
            <a:rect l="l" t="t" r="r" b="b"/>
            <a:pathLst>
              <a:path w="62762" h="43243">
                <a:moveTo>
                  <a:pt x="60351" y="30032"/>
                </a:moveTo>
                <a:cubicBezTo>
                  <a:pt x="45705" y="17367"/>
                  <a:pt x="28955" y="7372"/>
                  <a:pt x="10845" y="500"/>
                </a:cubicBezTo>
                <a:cubicBezTo>
                  <a:pt x="2273" y="-2745"/>
                  <a:pt x="-4765" y="10739"/>
                  <a:pt x="4092" y="14093"/>
                </a:cubicBezTo>
                <a:cubicBezTo>
                  <a:pt x="20996" y="20446"/>
                  <a:pt x="36672" y="29731"/>
                  <a:pt x="50353" y="41521"/>
                </a:cubicBezTo>
                <a:cubicBezTo>
                  <a:pt x="57413" y="47594"/>
                  <a:pt x="67410" y="36127"/>
                  <a:pt x="60351" y="3003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13" name="CustomShape 12"/>
          <p:cNvSpPr/>
          <p:nvPr/>
        </p:nvSpPr>
        <p:spPr>
          <a:xfrm>
            <a:off x="244800" y="4094280"/>
            <a:ext cx="745920" cy="775440"/>
          </a:xfrm>
          <a:custGeom>
            <a:avLst/>
            <a:gdLst/>
            <a:ahLst/>
            <a:cxnLst/>
            <a:rect l="l" t="t" r="r" b="b"/>
            <a:pathLst>
              <a:path w="353675" h="367635">
                <a:moveTo>
                  <a:pt x="349850" y="316408"/>
                </a:moveTo>
                <a:cubicBezTo>
                  <a:pt x="344216" y="307967"/>
                  <a:pt x="337265" y="300140"/>
                  <a:pt x="331061" y="292094"/>
                </a:cubicBezTo>
                <a:cubicBezTo>
                  <a:pt x="325295" y="284639"/>
                  <a:pt x="312907" y="293387"/>
                  <a:pt x="318542" y="300688"/>
                </a:cubicBezTo>
                <a:cubicBezTo>
                  <a:pt x="320142" y="302661"/>
                  <a:pt x="330951" y="317022"/>
                  <a:pt x="332574" y="318447"/>
                </a:cubicBezTo>
                <a:cubicBezTo>
                  <a:pt x="270198" y="313689"/>
                  <a:pt x="197781" y="305292"/>
                  <a:pt x="142554" y="274598"/>
                </a:cubicBezTo>
                <a:cubicBezTo>
                  <a:pt x="87348" y="239760"/>
                  <a:pt x="52202" y="175937"/>
                  <a:pt x="31747" y="115404"/>
                </a:cubicBezTo>
                <a:cubicBezTo>
                  <a:pt x="20542" y="80171"/>
                  <a:pt x="14804" y="43432"/>
                  <a:pt x="14733" y="6461"/>
                </a:cubicBezTo>
                <a:cubicBezTo>
                  <a:pt x="14733" y="-3318"/>
                  <a:pt x="-44" y="-1323"/>
                  <a:pt x="0" y="7930"/>
                </a:cubicBezTo>
                <a:cubicBezTo>
                  <a:pt x="1184" y="107971"/>
                  <a:pt x="41065" y="213209"/>
                  <a:pt x="119862" y="277470"/>
                </a:cubicBezTo>
                <a:cubicBezTo>
                  <a:pt x="177501" y="318403"/>
                  <a:pt x="263467" y="328116"/>
                  <a:pt x="332705" y="333158"/>
                </a:cubicBezTo>
                <a:cubicBezTo>
                  <a:pt x="322510" y="340196"/>
                  <a:pt x="316437" y="346182"/>
                  <a:pt x="307470" y="353702"/>
                </a:cubicBezTo>
                <a:cubicBezTo>
                  <a:pt x="300301" y="359863"/>
                  <a:pt x="307821" y="372250"/>
                  <a:pt x="315275" y="365848"/>
                </a:cubicBezTo>
                <a:lnTo>
                  <a:pt x="340028" y="344647"/>
                </a:lnTo>
                <a:cubicBezTo>
                  <a:pt x="350048" y="337171"/>
                  <a:pt x="359037" y="328927"/>
                  <a:pt x="349850" y="316408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14" name="CustomShape 13"/>
          <p:cNvSpPr/>
          <p:nvPr/>
        </p:nvSpPr>
        <p:spPr>
          <a:xfrm>
            <a:off x="8624520" y="1757160"/>
            <a:ext cx="200520" cy="172440"/>
          </a:xfrm>
          <a:custGeom>
            <a:avLst/>
            <a:gdLst/>
            <a:ahLst/>
            <a:cxnLst/>
            <a:rect l="l" t="t" r="r" b="b"/>
            <a:pathLst>
              <a:path w="95214" h="81892">
                <a:moveTo>
                  <a:pt x="92489" y="65480"/>
                </a:moveTo>
                <a:lnTo>
                  <a:pt x="61028" y="43753"/>
                </a:lnTo>
                <a:cubicBezTo>
                  <a:pt x="70521" y="33157"/>
                  <a:pt x="80036" y="22580"/>
                  <a:pt x="89530" y="12028"/>
                </a:cubicBezTo>
                <a:cubicBezTo>
                  <a:pt x="96107" y="4771"/>
                  <a:pt x="85145" y="-4635"/>
                  <a:pt x="78567" y="2600"/>
                </a:cubicBezTo>
                <a:lnTo>
                  <a:pt x="48991" y="35487"/>
                </a:lnTo>
                <a:lnTo>
                  <a:pt x="12684" y="10383"/>
                </a:lnTo>
                <a:cubicBezTo>
                  <a:pt x="5098" y="5144"/>
                  <a:pt x="-4856" y="16610"/>
                  <a:pt x="2687" y="21872"/>
                </a:cubicBezTo>
                <a:lnTo>
                  <a:pt x="38796" y="46844"/>
                </a:lnTo>
                <a:lnTo>
                  <a:pt x="18275" y="69865"/>
                </a:lnTo>
                <a:cubicBezTo>
                  <a:pt x="11697" y="77122"/>
                  <a:pt x="22660" y="86527"/>
                  <a:pt x="29237" y="79292"/>
                </a:cubicBezTo>
                <a:lnTo>
                  <a:pt x="50942" y="55175"/>
                </a:lnTo>
                <a:lnTo>
                  <a:pt x="82601" y="77100"/>
                </a:lnTo>
                <a:cubicBezTo>
                  <a:pt x="90078" y="82296"/>
                  <a:pt x="100119" y="70829"/>
                  <a:pt x="92489" y="6548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15" name="CustomShape 14"/>
          <p:cNvSpPr/>
          <p:nvPr/>
        </p:nvSpPr>
        <p:spPr>
          <a:xfrm>
            <a:off x="4654440" y="4555440"/>
            <a:ext cx="680760" cy="213840"/>
          </a:xfrm>
          <a:custGeom>
            <a:avLst/>
            <a:gdLst/>
            <a:ahLst/>
            <a:cxnLst/>
            <a:rect l="l" t="t" r="r" b="b"/>
            <a:pathLst>
              <a:path w="322772" h="101579">
                <a:moveTo>
                  <a:pt x="308867" y="12831"/>
                </a:moveTo>
                <a:cubicBezTo>
                  <a:pt x="298146" y="35457"/>
                  <a:pt x="274994" y="116227"/>
                  <a:pt x="241691" y="74877"/>
                </a:cubicBezTo>
                <a:cubicBezTo>
                  <a:pt x="226606" y="51615"/>
                  <a:pt x="229566" y="5595"/>
                  <a:pt x="194224" y="334"/>
                </a:cubicBezTo>
                <a:cubicBezTo>
                  <a:pt x="178877" y="-1990"/>
                  <a:pt x="165349" y="8161"/>
                  <a:pt x="157325" y="20460"/>
                </a:cubicBezTo>
                <a:cubicBezTo>
                  <a:pt x="146363" y="37211"/>
                  <a:pt x="147130" y="60538"/>
                  <a:pt x="133361" y="75425"/>
                </a:cubicBezTo>
                <a:cubicBezTo>
                  <a:pt x="125907" y="83493"/>
                  <a:pt x="113761" y="87221"/>
                  <a:pt x="105692" y="77925"/>
                </a:cubicBezTo>
                <a:cubicBezTo>
                  <a:pt x="91836" y="58697"/>
                  <a:pt x="101308" y="30480"/>
                  <a:pt x="85040" y="12019"/>
                </a:cubicBezTo>
                <a:cubicBezTo>
                  <a:pt x="56538" y="-22380"/>
                  <a:pt x="11110" y="29318"/>
                  <a:pt x="630" y="55386"/>
                </a:cubicBezTo>
                <a:cubicBezTo>
                  <a:pt x="-3009" y="64441"/>
                  <a:pt x="10145" y="70339"/>
                  <a:pt x="13785" y="61415"/>
                </a:cubicBezTo>
                <a:cubicBezTo>
                  <a:pt x="27992" y="24319"/>
                  <a:pt x="78221" y="-12668"/>
                  <a:pt x="82496" y="51571"/>
                </a:cubicBezTo>
                <a:cubicBezTo>
                  <a:pt x="84097" y="65734"/>
                  <a:pt x="86640" y="82003"/>
                  <a:pt x="98129" y="91803"/>
                </a:cubicBezTo>
                <a:cubicBezTo>
                  <a:pt x="110954" y="102765"/>
                  <a:pt x="128560" y="98863"/>
                  <a:pt x="140355" y="88558"/>
                </a:cubicBezTo>
                <a:cubicBezTo>
                  <a:pt x="155703" y="75184"/>
                  <a:pt x="157632" y="55079"/>
                  <a:pt x="164867" y="37255"/>
                </a:cubicBezTo>
                <a:cubicBezTo>
                  <a:pt x="172102" y="19430"/>
                  <a:pt x="191308" y="5464"/>
                  <a:pt x="205690" y="25086"/>
                </a:cubicBezTo>
                <a:cubicBezTo>
                  <a:pt x="222397" y="47844"/>
                  <a:pt x="217508" y="92066"/>
                  <a:pt x="250965" y="100880"/>
                </a:cubicBezTo>
                <a:cubicBezTo>
                  <a:pt x="294375" y="108729"/>
                  <a:pt x="307464" y="48633"/>
                  <a:pt x="322022" y="18904"/>
                </a:cubicBezTo>
                <a:cubicBezTo>
                  <a:pt x="326034" y="9915"/>
                  <a:pt x="312836" y="4039"/>
                  <a:pt x="308867" y="1283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16" name="PlaceHolder 15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Clique para editar o formato do texto da estrutura de tópicos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2.º nível da estrutura de tópicos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3.º nível da estrutura de tópicos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4.º nível da estrutura de tópicos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5.º nível da estrutura de tópicos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6.º nível da estrutura de tópicos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7.º nível da estrutura de tópico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CustomShape 1"/>
          <p:cNvSpPr/>
          <p:nvPr/>
        </p:nvSpPr>
        <p:spPr>
          <a:xfrm rot="19839600">
            <a:off x="4588200" y="636840"/>
            <a:ext cx="4206240" cy="4111560"/>
          </a:xfrm>
          <a:custGeom>
            <a:avLst/>
            <a:gdLst/>
            <a:ahLst/>
            <a:cxnLst/>
            <a:rect l="l" t="t" r="r" b="b"/>
            <a:pathLst>
              <a:path w="549996" h="559316">
                <a:moveTo>
                  <a:pt x="536665" y="198722"/>
                </a:moveTo>
                <a:cubicBezTo>
                  <a:pt x="507988" y="55467"/>
                  <a:pt x="324589" y="-49573"/>
                  <a:pt x="179295" y="24291"/>
                </a:cubicBezTo>
                <a:cubicBezTo>
                  <a:pt x="17974" y="106420"/>
                  <a:pt x="-81169" y="375917"/>
                  <a:pt x="88111" y="512244"/>
                </a:cubicBezTo>
                <a:cubicBezTo>
                  <a:pt x="141168" y="554536"/>
                  <a:pt x="210888" y="558504"/>
                  <a:pt x="276092" y="557584"/>
                </a:cubicBezTo>
                <a:cubicBezTo>
                  <a:pt x="484178" y="579947"/>
                  <a:pt x="588999" y="381814"/>
                  <a:pt x="536665" y="19872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54" name="PlaceHolder 2"/>
          <p:cNvSpPr>
            <a:spLocks noGrp="1"/>
          </p:cNvSpPr>
          <p:nvPr>
            <p:ph type="sldNum"/>
          </p:nvPr>
        </p:nvSpPr>
        <p:spPr>
          <a:xfrm>
            <a:off x="8404200" y="4693320"/>
            <a:ext cx="548280" cy="299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734D0707-3A91-40FA-8EAA-E8D28E007D38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‹nº›</a:t>
            </a:fld>
            <a:endParaRPr lang="pt-BR" sz="1500" b="0" strike="noStrike" spc="-1">
              <a:latin typeface="Times New Roman"/>
            </a:endParaRPr>
          </a:p>
        </p:txBody>
      </p:sp>
      <p:grpSp>
        <p:nvGrpSpPr>
          <p:cNvPr id="255" name="Group 3"/>
          <p:cNvGrpSpPr/>
          <p:nvPr/>
        </p:nvGrpSpPr>
        <p:grpSpPr>
          <a:xfrm>
            <a:off x="4377240" y="431640"/>
            <a:ext cx="4360680" cy="4280040"/>
            <a:chOff x="4377240" y="431640"/>
            <a:chExt cx="4360680" cy="4280040"/>
          </a:xfrm>
        </p:grpSpPr>
        <p:sp>
          <p:nvSpPr>
            <p:cNvPr id="256" name="CustomShape 4"/>
            <p:cNvSpPr/>
            <p:nvPr/>
          </p:nvSpPr>
          <p:spPr>
            <a:xfrm>
              <a:off x="4425480" y="431640"/>
              <a:ext cx="4312440" cy="4280040"/>
            </a:xfrm>
            <a:custGeom>
              <a:avLst/>
              <a:gdLst/>
              <a:ahLst/>
              <a:cxnLst/>
              <a:rect l="l" t="t" r="r" b="b"/>
              <a:pathLst>
                <a:path w="1812002" h="1798416">
                  <a:moveTo>
                    <a:pt x="1803580" y="754533"/>
                  </a:moveTo>
                  <a:cubicBezTo>
                    <a:pt x="1755126" y="365965"/>
                    <a:pt x="1420404" y="43389"/>
                    <a:pt x="1031243" y="5415"/>
                  </a:cubicBezTo>
                  <a:cubicBezTo>
                    <a:pt x="982060" y="-66"/>
                    <a:pt x="932504" y="-1381"/>
                    <a:pt x="883099" y="1447"/>
                  </a:cubicBezTo>
                  <a:cubicBezTo>
                    <a:pt x="873803" y="1973"/>
                    <a:pt x="873957" y="16794"/>
                    <a:pt x="883691" y="16246"/>
                  </a:cubicBezTo>
                  <a:cubicBezTo>
                    <a:pt x="1757494" y="-18263"/>
                    <a:pt x="2121442" y="1058868"/>
                    <a:pt x="1445508" y="1590605"/>
                  </a:cubicBezTo>
                  <a:cubicBezTo>
                    <a:pt x="1154174" y="1812547"/>
                    <a:pt x="730088" y="1849314"/>
                    <a:pt x="411765" y="1663262"/>
                  </a:cubicBezTo>
                  <a:cubicBezTo>
                    <a:pt x="67769" y="1470874"/>
                    <a:pt x="-50821" y="1022824"/>
                    <a:pt x="50843" y="658548"/>
                  </a:cubicBezTo>
                  <a:cubicBezTo>
                    <a:pt x="145996" y="257328"/>
                    <a:pt x="571617" y="-46393"/>
                    <a:pt x="981233" y="77876"/>
                  </a:cubicBezTo>
                  <a:cubicBezTo>
                    <a:pt x="990003" y="80529"/>
                    <a:pt x="993533" y="65949"/>
                    <a:pt x="984391" y="63186"/>
                  </a:cubicBezTo>
                  <a:cubicBezTo>
                    <a:pt x="621232" y="-46436"/>
                    <a:pt x="223477" y="180680"/>
                    <a:pt x="83292" y="523010"/>
                  </a:cubicBezTo>
                  <a:cubicBezTo>
                    <a:pt x="-163184" y="1097697"/>
                    <a:pt x="154152" y="1768368"/>
                    <a:pt x="813533" y="1796542"/>
                  </a:cubicBezTo>
                  <a:cubicBezTo>
                    <a:pt x="1393503" y="1832827"/>
                    <a:pt x="1882662" y="1337310"/>
                    <a:pt x="1803580" y="754533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257" name="CustomShape 5"/>
            <p:cNvSpPr/>
            <p:nvPr/>
          </p:nvSpPr>
          <p:spPr>
            <a:xfrm>
              <a:off x="4377240" y="3264840"/>
              <a:ext cx="699480" cy="1112040"/>
            </a:xfrm>
            <a:custGeom>
              <a:avLst/>
              <a:gdLst/>
              <a:ahLst/>
              <a:cxnLst/>
              <a:rect l="l" t="t" r="r" b="b"/>
              <a:pathLst>
                <a:path w="294070" h="467316">
                  <a:moveTo>
                    <a:pt x="291610" y="454155"/>
                  </a:moveTo>
                  <a:cubicBezTo>
                    <a:pt x="153814" y="339512"/>
                    <a:pt x="54825" y="179550"/>
                    <a:pt x="14308" y="4834"/>
                  </a:cubicBezTo>
                  <a:cubicBezTo>
                    <a:pt x="12116" y="-4528"/>
                    <a:pt x="-1872" y="1084"/>
                    <a:pt x="211" y="10007"/>
                  </a:cubicBezTo>
                  <a:cubicBezTo>
                    <a:pt x="42374" y="188276"/>
                    <a:pt x="141091" y="348128"/>
                    <a:pt x="281612" y="465666"/>
                  </a:cubicBezTo>
                  <a:cubicBezTo>
                    <a:pt x="288760" y="471585"/>
                    <a:pt x="298757" y="460141"/>
                    <a:pt x="291610" y="454155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258" name="CustomShape 6"/>
            <p:cNvSpPr/>
            <p:nvPr/>
          </p:nvSpPr>
          <p:spPr>
            <a:xfrm>
              <a:off x="4431960" y="3801600"/>
              <a:ext cx="277920" cy="378720"/>
            </a:xfrm>
            <a:custGeom>
              <a:avLst/>
              <a:gdLst/>
              <a:ahLst/>
              <a:cxnLst/>
              <a:rect l="l" t="t" r="r" b="b"/>
              <a:pathLst>
                <a:path w="116913" h="159211">
                  <a:moveTo>
                    <a:pt x="114759" y="145770"/>
                  </a:moveTo>
                  <a:cubicBezTo>
                    <a:pt x="73155" y="104376"/>
                    <a:pt x="38848" y="56252"/>
                    <a:pt x="13292" y="3435"/>
                  </a:cubicBezTo>
                  <a:cubicBezTo>
                    <a:pt x="9193" y="-5027"/>
                    <a:pt x="-3195" y="3808"/>
                    <a:pt x="774" y="12030"/>
                  </a:cubicBezTo>
                  <a:cubicBezTo>
                    <a:pt x="27012" y="65964"/>
                    <a:pt x="62178" y="115053"/>
                    <a:pt x="104784" y="157258"/>
                  </a:cubicBezTo>
                  <a:cubicBezTo>
                    <a:pt x="111361" y="163814"/>
                    <a:pt x="121337" y="152303"/>
                    <a:pt x="114759" y="14577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259" name="CustomShape 7"/>
            <p:cNvSpPr/>
            <p:nvPr/>
          </p:nvSpPr>
          <p:spPr>
            <a:xfrm>
              <a:off x="7684560" y="597960"/>
              <a:ext cx="830880" cy="765360"/>
            </a:xfrm>
            <a:custGeom>
              <a:avLst/>
              <a:gdLst/>
              <a:ahLst/>
              <a:cxnLst/>
              <a:rect l="l" t="t" r="r" b="b"/>
              <a:pathLst>
                <a:path w="349282" h="321669">
                  <a:moveTo>
                    <a:pt x="348469" y="309928"/>
                  </a:moveTo>
                  <a:cubicBezTo>
                    <a:pt x="278003" y="170664"/>
                    <a:pt x="156037" y="58585"/>
                    <a:pt x="11050" y="551"/>
                  </a:cubicBezTo>
                  <a:cubicBezTo>
                    <a:pt x="2543" y="-2847"/>
                    <a:pt x="-4823" y="10439"/>
                    <a:pt x="3968" y="13969"/>
                  </a:cubicBezTo>
                  <a:cubicBezTo>
                    <a:pt x="146478" y="70973"/>
                    <a:pt x="266844" y="180859"/>
                    <a:pt x="335709" y="318194"/>
                  </a:cubicBezTo>
                  <a:cubicBezTo>
                    <a:pt x="339918" y="326613"/>
                    <a:pt x="352591" y="318107"/>
                    <a:pt x="348469" y="309928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260" name="CustomShape 8"/>
            <p:cNvSpPr/>
            <p:nvPr/>
          </p:nvSpPr>
          <p:spPr>
            <a:xfrm>
              <a:off x="8507160" y="1390320"/>
              <a:ext cx="57240" cy="83520"/>
            </a:xfrm>
            <a:custGeom>
              <a:avLst/>
              <a:gdLst/>
              <a:ahLst/>
              <a:cxnLst/>
              <a:rect l="l" t="t" r="r" b="b"/>
              <a:pathLst>
                <a:path w="24275" h="35310">
                  <a:moveTo>
                    <a:pt x="23295" y="23713"/>
                  </a:moveTo>
                  <a:lnTo>
                    <a:pt x="13692" y="3323"/>
                  </a:lnTo>
                  <a:cubicBezTo>
                    <a:pt x="8452" y="-4658"/>
                    <a:pt x="-3475" y="3191"/>
                    <a:pt x="975" y="11588"/>
                  </a:cubicBezTo>
                  <a:cubicBezTo>
                    <a:pt x="4176" y="18384"/>
                    <a:pt x="7371" y="25181"/>
                    <a:pt x="10556" y="31978"/>
                  </a:cubicBezTo>
                  <a:cubicBezTo>
                    <a:pt x="15906" y="39980"/>
                    <a:pt x="27745" y="32109"/>
                    <a:pt x="23295" y="23713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sp>
        <p:nvSpPr>
          <p:cNvPr id="261" name="CustomShape 9"/>
          <p:cNvSpPr/>
          <p:nvPr/>
        </p:nvSpPr>
        <p:spPr>
          <a:xfrm rot="2700000">
            <a:off x="4969800" y="954360"/>
            <a:ext cx="200520" cy="172440"/>
          </a:xfrm>
          <a:custGeom>
            <a:avLst/>
            <a:gdLst/>
            <a:ahLst/>
            <a:cxnLst/>
            <a:rect l="l" t="t" r="r" b="b"/>
            <a:pathLst>
              <a:path w="95214" h="81892">
                <a:moveTo>
                  <a:pt x="92489" y="65480"/>
                </a:moveTo>
                <a:lnTo>
                  <a:pt x="61028" y="43753"/>
                </a:lnTo>
                <a:cubicBezTo>
                  <a:pt x="70521" y="33157"/>
                  <a:pt x="80036" y="22580"/>
                  <a:pt x="89530" y="12028"/>
                </a:cubicBezTo>
                <a:cubicBezTo>
                  <a:pt x="96107" y="4771"/>
                  <a:pt x="85145" y="-4635"/>
                  <a:pt x="78567" y="2600"/>
                </a:cubicBezTo>
                <a:lnTo>
                  <a:pt x="48991" y="35487"/>
                </a:lnTo>
                <a:lnTo>
                  <a:pt x="12684" y="10383"/>
                </a:lnTo>
                <a:cubicBezTo>
                  <a:pt x="5098" y="5144"/>
                  <a:pt x="-4856" y="16610"/>
                  <a:pt x="2687" y="21872"/>
                </a:cubicBezTo>
                <a:lnTo>
                  <a:pt x="38796" y="46844"/>
                </a:lnTo>
                <a:lnTo>
                  <a:pt x="18275" y="69865"/>
                </a:lnTo>
                <a:cubicBezTo>
                  <a:pt x="11697" y="77122"/>
                  <a:pt x="22660" y="86527"/>
                  <a:pt x="29237" y="79292"/>
                </a:cubicBezTo>
                <a:lnTo>
                  <a:pt x="50942" y="55175"/>
                </a:lnTo>
                <a:lnTo>
                  <a:pt x="82601" y="77100"/>
                </a:lnTo>
                <a:cubicBezTo>
                  <a:pt x="90078" y="82296"/>
                  <a:pt x="100119" y="70829"/>
                  <a:pt x="92489" y="6548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62" name="CustomShape 10"/>
          <p:cNvSpPr/>
          <p:nvPr/>
        </p:nvSpPr>
        <p:spPr>
          <a:xfrm rot="8434800">
            <a:off x="7810920" y="3959280"/>
            <a:ext cx="540000" cy="263880"/>
          </a:xfrm>
          <a:custGeom>
            <a:avLst/>
            <a:gdLst/>
            <a:ahLst/>
            <a:cxnLst/>
            <a:rect l="l" t="t" r="r" b="b"/>
            <a:pathLst>
              <a:path w="256043" h="125260">
                <a:moveTo>
                  <a:pt x="122835" y="3891"/>
                </a:moveTo>
                <a:cubicBezTo>
                  <a:pt x="106677" y="35258"/>
                  <a:pt x="90541" y="66632"/>
                  <a:pt x="74404" y="98013"/>
                </a:cubicBezTo>
                <a:cubicBezTo>
                  <a:pt x="67103" y="82972"/>
                  <a:pt x="59737" y="67939"/>
                  <a:pt x="52348" y="52914"/>
                </a:cubicBezTo>
                <a:cubicBezTo>
                  <a:pt x="49783" y="47630"/>
                  <a:pt x="41583" y="45218"/>
                  <a:pt x="38602" y="51708"/>
                </a:cubicBezTo>
                <a:cubicBezTo>
                  <a:pt x="30007" y="70416"/>
                  <a:pt x="17598" y="87110"/>
                  <a:pt x="2141" y="100709"/>
                </a:cubicBezTo>
                <a:cubicBezTo>
                  <a:pt x="-4787" y="106848"/>
                  <a:pt x="6723" y="116802"/>
                  <a:pt x="13629" y="110685"/>
                </a:cubicBezTo>
                <a:cubicBezTo>
                  <a:pt x="26258" y="99453"/>
                  <a:pt x="36979" y="86235"/>
                  <a:pt x="45354" y="71550"/>
                </a:cubicBezTo>
                <a:lnTo>
                  <a:pt x="67432" y="116670"/>
                </a:lnTo>
                <a:cubicBezTo>
                  <a:pt x="70107" y="122174"/>
                  <a:pt x="77978" y="124147"/>
                  <a:pt x="81179" y="117876"/>
                </a:cubicBezTo>
                <a:lnTo>
                  <a:pt x="128580" y="25793"/>
                </a:lnTo>
                <a:cubicBezTo>
                  <a:pt x="139147" y="55900"/>
                  <a:pt x="147259" y="86822"/>
                  <a:pt x="152784" y="118249"/>
                </a:cubicBezTo>
                <a:cubicBezTo>
                  <a:pt x="153969" y="125024"/>
                  <a:pt x="163462" y="128422"/>
                  <a:pt x="166970" y="121318"/>
                </a:cubicBezTo>
                <a:cubicBezTo>
                  <a:pt x="177515" y="99979"/>
                  <a:pt x="188039" y="78638"/>
                  <a:pt x="198585" y="57299"/>
                </a:cubicBezTo>
                <a:cubicBezTo>
                  <a:pt x="214107" y="75321"/>
                  <a:pt x="228819" y="94022"/>
                  <a:pt x="242434" y="113469"/>
                </a:cubicBezTo>
                <a:cubicBezTo>
                  <a:pt x="247959" y="121297"/>
                  <a:pt x="260259" y="113711"/>
                  <a:pt x="254580" y="105686"/>
                </a:cubicBezTo>
                <a:cubicBezTo>
                  <a:pt x="238509" y="82896"/>
                  <a:pt x="221145" y="61039"/>
                  <a:pt x="202575" y="40220"/>
                </a:cubicBezTo>
                <a:cubicBezTo>
                  <a:pt x="199023" y="36229"/>
                  <a:pt x="192512" y="35089"/>
                  <a:pt x="189705" y="40746"/>
                </a:cubicBezTo>
                <a:lnTo>
                  <a:pt x="163001" y="94899"/>
                </a:lnTo>
                <a:cubicBezTo>
                  <a:pt x="156468" y="64295"/>
                  <a:pt x="147566" y="34241"/>
                  <a:pt x="136407" y="5009"/>
                </a:cubicBezTo>
                <a:cubicBezTo>
                  <a:pt x="134324" y="-823"/>
                  <a:pt x="125861" y="-2029"/>
                  <a:pt x="122835" y="389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63" name="PlaceHolder 1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Clique para editar o formato do texto do título</a:t>
            </a:r>
          </a:p>
        </p:txBody>
      </p:sp>
      <p:sp>
        <p:nvSpPr>
          <p:cNvPr id="264" name="PlaceHolder 1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Clique para editar o formato do texto da estrutura de tópicos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2.º nível da estrutura de tópicos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3.º nível da estrutura de tópicos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4.º nível da estrutura de tópicos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5.º nível da estrutura de tópicos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6.º nível da estrutura de tópicos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7.º nível da estrutura de tópico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CustomShape 1"/>
          <p:cNvSpPr/>
          <p:nvPr/>
        </p:nvSpPr>
        <p:spPr>
          <a:xfrm>
            <a:off x="0" y="0"/>
            <a:ext cx="9143640" cy="5143320"/>
          </a:xfrm>
          <a:prstGeom prst="rect">
            <a:avLst/>
          </a:prstGeom>
          <a:gradFill rotWithShape="0">
            <a:gsLst>
              <a:gs pos="0">
                <a:srgbClr val="FFFFFF">
                  <a:alpha val="0"/>
                </a:srgbClr>
              </a:gs>
              <a:gs pos="100000">
                <a:srgbClr val="FFFFFF">
                  <a:alpha val="0"/>
                </a:srgbClr>
              </a:gs>
            </a:gsLst>
            <a:lin ang="10800000"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02" name="CustomShape 2"/>
          <p:cNvSpPr/>
          <p:nvPr/>
        </p:nvSpPr>
        <p:spPr>
          <a:xfrm rot="10800000">
            <a:off x="478440" y="499320"/>
            <a:ext cx="3891240" cy="4389120"/>
          </a:xfrm>
          <a:custGeom>
            <a:avLst/>
            <a:gdLst/>
            <a:ahLst/>
            <a:cxnLst/>
            <a:rect l="l" t="t" r="r" b="b"/>
            <a:pathLst>
              <a:path w="873041" h="513236">
                <a:moveTo>
                  <a:pt x="807026" y="87874"/>
                </a:moveTo>
                <a:cubicBezTo>
                  <a:pt x="687888" y="-12496"/>
                  <a:pt x="94894" y="-27493"/>
                  <a:pt x="35062" y="46020"/>
                </a:cubicBezTo>
                <a:cubicBezTo>
                  <a:pt x="-6967" y="97718"/>
                  <a:pt x="2767" y="252111"/>
                  <a:pt x="1233" y="323344"/>
                </a:cubicBezTo>
                <a:cubicBezTo>
                  <a:pt x="-5849" y="404706"/>
                  <a:pt x="16010" y="492163"/>
                  <a:pt x="108027" y="508036"/>
                </a:cubicBezTo>
                <a:cubicBezTo>
                  <a:pt x="181211" y="520007"/>
                  <a:pt x="256478" y="507488"/>
                  <a:pt x="330298" y="508036"/>
                </a:cubicBezTo>
                <a:cubicBezTo>
                  <a:pt x="482038" y="490497"/>
                  <a:pt x="728667" y="541318"/>
                  <a:pt x="831077" y="410055"/>
                </a:cubicBezTo>
                <a:cubicBezTo>
                  <a:pt x="891479" y="316196"/>
                  <a:pt x="889396" y="168425"/>
                  <a:pt x="807026" y="8787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03" name="CustomShape 3"/>
          <p:cNvSpPr/>
          <p:nvPr/>
        </p:nvSpPr>
        <p:spPr>
          <a:xfrm>
            <a:off x="359640" y="371160"/>
            <a:ext cx="3868920" cy="4399920"/>
          </a:xfrm>
          <a:custGeom>
            <a:avLst/>
            <a:gdLst/>
            <a:ahLst/>
            <a:cxnLst/>
            <a:rect l="l" t="t" r="r" b="b"/>
            <a:pathLst>
              <a:path w="1717712" h="1953518">
                <a:moveTo>
                  <a:pt x="1717677" y="1051758"/>
                </a:moveTo>
                <a:cubicBezTo>
                  <a:pt x="1717041" y="813899"/>
                  <a:pt x="1713292" y="575995"/>
                  <a:pt x="1710661" y="338136"/>
                </a:cubicBezTo>
                <a:cubicBezTo>
                  <a:pt x="1721382" y="143007"/>
                  <a:pt x="1668478" y="-11692"/>
                  <a:pt x="1396636" y="695"/>
                </a:cubicBezTo>
                <a:cubicBezTo>
                  <a:pt x="1075945" y="147"/>
                  <a:pt x="626492" y="30556"/>
                  <a:pt x="313102" y="62895"/>
                </a:cubicBezTo>
                <a:cubicBezTo>
                  <a:pt x="228254" y="71248"/>
                  <a:pt x="127029" y="84929"/>
                  <a:pt x="80877" y="166423"/>
                </a:cubicBezTo>
                <a:cubicBezTo>
                  <a:pt x="57506" y="207641"/>
                  <a:pt x="52222" y="256313"/>
                  <a:pt x="47991" y="302574"/>
                </a:cubicBezTo>
                <a:cubicBezTo>
                  <a:pt x="26527" y="536443"/>
                  <a:pt x="5742" y="770773"/>
                  <a:pt x="765" y="1005673"/>
                </a:cubicBezTo>
                <a:cubicBezTo>
                  <a:pt x="-2436" y="1229303"/>
                  <a:pt x="2826" y="1455674"/>
                  <a:pt x="47355" y="1675512"/>
                </a:cubicBezTo>
                <a:cubicBezTo>
                  <a:pt x="105433" y="1930275"/>
                  <a:pt x="294247" y="1910587"/>
                  <a:pt x="507266" y="1924377"/>
                </a:cubicBezTo>
                <a:cubicBezTo>
                  <a:pt x="802152" y="1942663"/>
                  <a:pt x="1097629" y="1958514"/>
                  <a:pt x="1393172" y="1952046"/>
                </a:cubicBezTo>
                <a:cubicBezTo>
                  <a:pt x="1441055" y="1950775"/>
                  <a:pt x="1490210" y="1947420"/>
                  <a:pt x="1535440" y="1930429"/>
                </a:cubicBezTo>
                <a:cubicBezTo>
                  <a:pt x="1677402" y="1878007"/>
                  <a:pt x="1689065" y="1706645"/>
                  <a:pt x="1699874" y="1577005"/>
                </a:cubicBezTo>
                <a:cubicBezTo>
                  <a:pt x="1715068" y="1402398"/>
                  <a:pt x="1718093" y="1226979"/>
                  <a:pt x="1717677" y="1051758"/>
                </a:cubicBezTo>
                <a:close/>
                <a:moveTo>
                  <a:pt x="1684308" y="1587616"/>
                </a:moveTo>
                <a:cubicBezTo>
                  <a:pt x="1671833" y="1818701"/>
                  <a:pt x="1618008" y="1947946"/>
                  <a:pt x="1360789" y="1937861"/>
                </a:cubicBezTo>
                <a:cubicBezTo>
                  <a:pt x="1016574" y="1942663"/>
                  <a:pt x="672358" y="1921374"/>
                  <a:pt x="329042" y="1897608"/>
                </a:cubicBezTo>
                <a:cubicBezTo>
                  <a:pt x="86951" y="1886316"/>
                  <a:pt x="53428" y="1699979"/>
                  <a:pt x="34726" y="1498208"/>
                </a:cubicBezTo>
                <a:cubicBezTo>
                  <a:pt x="-9452" y="1099970"/>
                  <a:pt x="26790" y="698817"/>
                  <a:pt x="62702" y="301390"/>
                </a:cubicBezTo>
                <a:cubicBezTo>
                  <a:pt x="68753" y="111151"/>
                  <a:pt x="183835" y="84798"/>
                  <a:pt x="348357" y="74011"/>
                </a:cubicBezTo>
                <a:cubicBezTo>
                  <a:pt x="645698" y="44939"/>
                  <a:pt x="1089889" y="7404"/>
                  <a:pt x="1389160" y="15363"/>
                </a:cubicBezTo>
                <a:cubicBezTo>
                  <a:pt x="1422529" y="16262"/>
                  <a:pt x="1545876" y="-5817"/>
                  <a:pt x="1635416" y="89906"/>
                </a:cubicBezTo>
                <a:cubicBezTo>
                  <a:pt x="1708337" y="167848"/>
                  <a:pt x="1693692" y="282645"/>
                  <a:pt x="1696388" y="380999"/>
                </a:cubicBezTo>
                <a:cubicBezTo>
                  <a:pt x="1696805" y="783117"/>
                  <a:pt x="1718115" y="1186353"/>
                  <a:pt x="1684242" y="1587616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04" name="PlaceHolder 4"/>
          <p:cNvSpPr>
            <a:spLocks noGrp="1"/>
          </p:cNvSpPr>
          <p:nvPr>
            <p:ph type="title"/>
          </p:nvPr>
        </p:nvSpPr>
        <p:spPr>
          <a:xfrm>
            <a:off x="883440" y="1005120"/>
            <a:ext cx="2878920" cy="95148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/>
          <a:p>
            <a:r>
              <a:rPr lang="pt-BR" sz="3400" b="0" strike="noStrike" spc="-1">
                <a:solidFill>
                  <a:srgbClr val="000000"/>
                </a:solidFill>
                <a:latin typeface="Arial"/>
              </a:rPr>
              <a:t>Clique para editar o formato do texto do título</a:t>
            </a:r>
          </a:p>
        </p:txBody>
      </p:sp>
      <p:sp>
        <p:nvSpPr>
          <p:cNvPr id="305" name="PlaceHolder 5"/>
          <p:cNvSpPr>
            <a:spLocks noGrp="1"/>
          </p:cNvSpPr>
          <p:nvPr>
            <p:ph type="body"/>
          </p:nvPr>
        </p:nvSpPr>
        <p:spPr>
          <a:xfrm>
            <a:off x="883440" y="2078280"/>
            <a:ext cx="2878920" cy="205992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Clique para editar o formato do texto da estrutura de tópicos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2.º nível da estrutura de tópicos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3.º nível da estrutura de tópicos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4.º nível da estrutura de tópicos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5.º nível da estrutura de tópicos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6.º nível da estrutura de tópicos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7.º nível da estrutura de tópicos</a:t>
            </a:r>
          </a:p>
        </p:txBody>
      </p:sp>
      <p:sp>
        <p:nvSpPr>
          <p:cNvPr id="306" name="PlaceHolder 6"/>
          <p:cNvSpPr>
            <a:spLocks noGrp="1"/>
          </p:cNvSpPr>
          <p:nvPr>
            <p:ph type="sldNum"/>
          </p:nvPr>
        </p:nvSpPr>
        <p:spPr>
          <a:xfrm>
            <a:off x="8404200" y="4693320"/>
            <a:ext cx="548280" cy="299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E0FD9DF5-C90B-4DD5-9307-899B5AE7AAE1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‹nº›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307" name="CustomShape 7"/>
          <p:cNvSpPr/>
          <p:nvPr/>
        </p:nvSpPr>
        <p:spPr>
          <a:xfrm rot="5400000">
            <a:off x="3614760" y="2581560"/>
            <a:ext cx="1376640" cy="66600"/>
          </a:xfrm>
          <a:custGeom>
            <a:avLst/>
            <a:gdLst/>
            <a:ahLst/>
            <a:cxnLst/>
            <a:rect l="l" t="t" r="r" b="b"/>
            <a:pathLst>
              <a:path w="652626" h="31710">
                <a:moveTo>
                  <a:pt x="645179" y="13550"/>
                </a:moveTo>
                <a:cubicBezTo>
                  <a:pt x="432971" y="20774"/>
                  <a:pt x="220527" y="16258"/>
                  <a:pt x="8819" y="23"/>
                </a:cubicBezTo>
                <a:cubicBezTo>
                  <a:pt x="-280" y="-657"/>
                  <a:pt x="-3941" y="13989"/>
                  <a:pt x="5662" y="14712"/>
                </a:cubicBezTo>
                <a:cubicBezTo>
                  <a:pt x="218646" y="31045"/>
                  <a:pt x="432371" y="35612"/>
                  <a:pt x="645859" y="28393"/>
                </a:cubicBezTo>
                <a:cubicBezTo>
                  <a:pt x="655067" y="28043"/>
                  <a:pt x="654914" y="13178"/>
                  <a:pt x="645179" y="1355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08" name="CustomShape 8"/>
          <p:cNvSpPr/>
          <p:nvPr/>
        </p:nvSpPr>
        <p:spPr>
          <a:xfrm rot="5400000">
            <a:off x="4155840" y="3522960"/>
            <a:ext cx="263520" cy="30960"/>
          </a:xfrm>
          <a:custGeom>
            <a:avLst/>
            <a:gdLst/>
            <a:ahLst/>
            <a:cxnLst/>
            <a:rect l="l" t="t" r="r" b="b"/>
            <a:pathLst>
              <a:path w="125099" h="14799">
                <a:moveTo>
                  <a:pt x="117661" y="0"/>
                </a:moveTo>
                <a:lnTo>
                  <a:pt x="6833" y="0"/>
                </a:lnTo>
                <a:cubicBezTo>
                  <a:pt x="-2463" y="0"/>
                  <a:pt x="-2288" y="14799"/>
                  <a:pt x="7446" y="14799"/>
                </a:cubicBezTo>
                <a:lnTo>
                  <a:pt x="118275" y="14799"/>
                </a:lnTo>
                <a:cubicBezTo>
                  <a:pt x="127571" y="14887"/>
                  <a:pt x="127374" y="0"/>
                  <a:pt x="117661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09" name="CustomShape 9"/>
          <p:cNvSpPr/>
          <p:nvPr/>
        </p:nvSpPr>
        <p:spPr>
          <a:xfrm rot="10800000">
            <a:off x="542880" y="4490640"/>
            <a:ext cx="290160" cy="230760"/>
          </a:xfrm>
          <a:custGeom>
            <a:avLst/>
            <a:gdLst/>
            <a:ahLst/>
            <a:cxnLst/>
            <a:rect l="l" t="t" r="r" b="b"/>
            <a:pathLst>
              <a:path w="137618" h="109585">
                <a:moveTo>
                  <a:pt x="136999" y="99882"/>
                </a:moveTo>
                <a:cubicBezTo>
                  <a:pt x="113869" y="47085"/>
                  <a:pt x="65635" y="9548"/>
                  <a:pt x="8785" y="104"/>
                </a:cubicBezTo>
                <a:cubicBezTo>
                  <a:pt x="-292" y="-1365"/>
                  <a:pt x="-3910" y="13258"/>
                  <a:pt x="5627" y="14771"/>
                </a:cubicBezTo>
                <a:cubicBezTo>
                  <a:pt x="57435" y="23274"/>
                  <a:pt x="101482" y="57237"/>
                  <a:pt x="122902" y="105166"/>
                </a:cubicBezTo>
                <a:cubicBezTo>
                  <a:pt x="126738" y="113936"/>
                  <a:pt x="140705" y="108323"/>
                  <a:pt x="136999" y="9988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10" name="CustomShape 10"/>
          <p:cNvSpPr/>
          <p:nvPr/>
        </p:nvSpPr>
        <p:spPr>
          <a:xfrm rot="5130600">
            <a:off x="247680" y="411840"/>
            <a:ext cx="745560" cy="775080"/>
          </a:xfrm>
          <a:custGeom>
            <a:avLst/>
            <a:gdLst/>
            <a:ahLst/>
            <a:cxnLst/>
            <a:rect l="l" t="t" r="r" b="b"/>
            <a:pathLst>
              <a:path w="353675" h="367635">
                <a:moveTo>
                  <a:pt x="349850" y="316408"/>
                </a:moveTo>
                <a:cubicBezTo>
                  <a:pt x="344216" y="307967"/>
                  <a:pt x="337265" y="300140"/>
                  <a:pt x="331061" y="292094"/>
                </a:cubicBezTo>
                <a:cubicBezTo>
                  <a:pt x="325295" y="284639"/>
                  <a:pt x="312907" y="293387"/>
                  <a:pt x="318542" y="300688"/>
                </a:cubicBezTo>
                <a:cubicBezTo>
                  <a:pt x="320142" y="302661"/>
                  <a:pt x="330951" y="317022"/>
                  <a:pt x="332574" y="318447"/>
                </a:cubicBezTo>
                <a:cubicBezTo>
                  <a:pt x="270198" y="313689"/>
                  <a:pt x="197781" y="305292"/>
                  <a:pt x="142554" y="274598"/>
                </a:cubicBezTo>
                <a:cubicBezTo>
                  <a:pt x="87348" y="239760"/>
                  <a:pt x="52202" y="175937"/>
                  <a:pt x="31747" y="115404"/>
                </a:cubicBezTo>
                <a:cubicBezTo>
                  <a:pt x="20542" y="80171"/>
                  <a:pt x="14804" y="43432"/>
                  <a:pt x="14733" y="6461"/>
                </a:cubicBezTo>
                <a:cubicBezTo>
                  <a:pt x="14733" y="-3318"/>
                  <a:pt x="-44" y="-1323"/>
                  <a:pt x="0" y="7930"/>
                </a:cubicBezTo>
                <a:cubicBezTo>
                  <a:pt x="1184" y="107971"/>
                  <a:pt x="41065" y="213209"/>
                  <a:pt x="119862" y="277470"/>
                </a:cubicBezTo>
                <a:cubicBezTo>
                  <a:pt x="177501" y="318403"/>
                  <a:pt x="263467" y="328116"/>
                  <a:pt x="332705" y="333158"/>
                </a:cubicBezTo>
                <a:cubicBezTo>
                  <a:pt x="322510" y="340196"/>
                  <a:pt x="316437" y="346182"/>
                  <a:pt x="307470" y="353702"/>
                </a:cubicBezTo>
                <a:cubicBezTo>
                  <a:pt x="300301" y="359863"/>
                  <a:pt x="307821" y="372250"/>
                  <a:pt x="315275" y="365848"/>
                </a:cubicBezTo>
                <a:lnTo>
                  <a:pt x="340028" y="344647"/>
                </a:lnTo>
                <a:cubicBezTo>
                  <a:pt x="350048" y="337171"/>
                  <a:pt x="359037" y="328927"/>
                  <a:pt x="349850" y="316408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11" name="CustomShape 11"/>
          <p:cNvSpPr/>
          <p:nvPr/>
        </p:nvSpPr>
        <p:spPr>
          <a:xfrm>
            <a:off x="2994840" y="300600"/>
            <a:ext cx="200520" cy="172440"/>
          </a:xfrm>
          <a:custGeom>
            <a:avLst/>
            <a:gdLst/>
            <a:ahLst/>
            <a:cxnLst/>
            <a:rect l="l" t="t" r="r" b="b"/>
            <a:pathLst>
              <a:path w="95214" h="81892">
                <a:moveTo>
                  <a:pt x="92489" y="65480"/>
                </a:moveTo>
                <a:lnTo>
                  <a:pt x="61028" y="43753"/>
                </a:lnTo>
                <a:cubicBezTo>
                  <a:pt x="70521" y="33157"/>
                  <a:pt x="80036" y="22580"/>
                  <a:pt x="89530" y="12028"/>
                </a:cubicBezTo>
                <a:cubicBezTo>
                  <a:pt x="96107" y="4771"/>
                  <a:pt x="85145" y="-4635"/>
                  <a:pt x="78567" y="2600"/>
                </a:cubicBezTo>
                <a:lnTo>
                  <a:pt x="48991" y="35487"/>
                </a:lnTo>
                <a:lnTo>
                  <a:pt x="12684" y="10383"/>
                </a:lnTo>
                <a:cubicBezTo>
                  <a:pt x="5098" y="5144"/>
                  <a:pt x="-4856" y="16610"/>
                  <a:pt x="2687" y="21872"/>
                </a:cubicBezTo>
                <a:lnTo>
                  <a:pt x="38796" y="46844"/>
                </a:lnTo>
                <a:lnTo>
                  <a:pt x="18275" y="69865"/>
                </a:lnTo>
                <a:cubicBezTo>
                  <a:pt x="11697" y="77122"/>
                  <a:pt x="22660" y="86527"/>
                  <a:pt x="29237" y="79292"/>
                </a:cubicBezTo>
                <a:lnTo>
                  <a:pt x="50942" y="55175"/>
                </a:lnTo>
                <a:lnTo>
                  <a:pt x="82601" y="77100"/>
                </a:lnTo>
                <a:cubicBezTo>
                  <a:pt x="90078" y="82296"/>
                  <a:pt x="100119" y="70829"/>
                  <a:pt x="92489" y="6548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12" name="CustomShape 12"/>
          <p:cNvSpPr/>
          <p:nvPr/>
        </p:nvSpPr>
        <p:spPr>
          <a:xfrm>
            <a:off x="1495800" y="4628160"/>
            <a:ext cx="851400" cy="154800"/>
          </a:xfrm>
          <a:custGeom>
            <a:avLst/>
            <a:gdLst/>
            <a:ahLst/>
            <a:cxnLst/>
            <a:rect l="l" t="t" r="r" b="b"/>
            <a:pathLst>
              <a:path w="403625" h="73536">
                <a:moveTo>
                  <a:pt x="402034" y="57995"/>
                </a:moveTo>
                <a:cubicBezTo>
                  <a:pt x="349920" y="-4643"/>
                  <a:pt x="347223" y="-12273"/>
                  <a:pt x="293815" y="54948"/>
                </a:cubicBezTo>
                <a:cubicBezTo>
                  <a:pt x="244682" y="-17404"/>
                  <a:pt x="251829" y="2986"/>
                  <a:pt x="191361" y="49225"/>
                </a:cubicBezTo>
                <a:cubicBezTo>
                  <a:pt x="145320" y="-15189"/>
                  <a:pt x="150911" y="-15343"/>
                  <a:pt x="96669" y="42648"/>
                </a:cubicBezTo>
                <a:cubicBezTo>
                  <a:pt x="86321" y="25893"/>
                  <a:pt x="71785" y="12113"/>
                  <a:pt x="54508" y="2657"/>
                </a:cubicBezTo>
                <a:cubicBezTo>
                  <a:pt x="43897" y="-1442"/>
                  <a:pt x="13290" y="41442"/>
                  <a:pt x="2152" y="49554"/>
                </a:cubicBezTo>
                <a:cubicBezTo>
                  <a:pt x="-4644" y="56548"/>
                  <a:pt x="6230" y="65932"/>
                  <a:pt x="12983" y="58982"/>
                </a:cubicBezTo>
                <a:lnTo>
                  <a:pt x="52009" y="18838"/>
                </a:lnTo>
                <a:cubicBezTo>
                  <a:pt x="82462" y="34426"/>
                  <a:pt x="86825" y="72531"/>
                  <a:pt x="100243" y="59552"/>
                </a:cubicBezTo>
                <a:lnTo>
                  <a:pt x="120852" y="38307"/>
                </a:lnTo>
                <a:cubicBezTo>
                  <a:pt x="130455" y="27871"/>
                  <a:pt x="145298" y="3447"/>
                  <a:pt x="155800" y="26621"/>
                </a:cubicBezTo>
                <a:cubicBezTo>
                  <a:pt x="197105" y="84085"/>
                  <a:pt x="181473" y="72663"/>
                  <a:pt x="233785" y="33330"/>
                </a:cubicBezTo>
                <a:cubicBezTo>
                  <a:pt x="249659" y="14036"/>
                  <a:pt x="257223" y="29405"/>
                  <a:pt x="267264" y="44731"/>
                </a:cubicBezTo>
                <a:lnTo>
                  <a:pt x="286843" y="71040"/>
                </a:lnTo>
                <a:cubicBezTo>
                  <a:pt x="300195" y="86058"/>
                  <a:pt x="326855" y="28594"/>
                  <a:pt x="341106" y="23990"/>
                </a:cubicBezTo>
                <a:cubicBezTo>
                  <a:pt x="357462" y="17522"/>
                  <a:pt x="377238" y="56614"/>
                  <a:pt x="389493" y="66611"/>
                </a:cubicBezTo>
                <a:cubicBezTo>
                  <a:pt x="395632" y="73671"/>
                  <a:pt x="408020" y="64945"/>
                  <a:pt x="402034" y="57995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13" name="CustomShape 13"/>
          <p:cNvSpPr/>
          <p:nvPr/>
        </p:nvSpPr>
        <p:spPr>
          <a:xfrm rot="10800000">
            <a:off x="546120" y="4680720"/>
            <a:ext cx="132120" cy="90720"/>
          </a:xfrm>
          <a:custGeom>
            <a:avLst/>
            <a:gdLst/>
            <a:ahLst/>
            <a:cxnLst/>
            <a:rect l="l" t="t" r="r" b="b"/>
            <a:pathLst>
              <a:path w="62762" h="43243">
                <a:moveTo>
                  <a:pt x="60351" y="30032"/>
                </a:moveTo>
                <a:cubicBezTo>
                  <a:pt x="45705" y="17367"/>
                  <a:pt x="28955" y="7372"/>
                  <a:pt x="10845" y="500"/>
                </a:cubicBezTo>
                <a:cubicBezTo>
                  <a:pt x="2273" y="-2745"/>
                  <a:pt x="-4765" y="10739"/>
                  <a:pt x="4092" y="14093"/>
                </a:cubicBezTo>
                <a:cubicBezTo>
                  <a:pt x="20996" y="20446"/>
                  <a:pt x="36672" y="29731"/>
                  <a:pt x="50353" y="41521"/>
                </a:cubicBezTo>
                <a:cubicBezTo>
                  <a:pt x="57413" y="47594"/>
                  <a:pt x="67410" y="36127"/>
                  <a:pt x="60351" y="3003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B35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" name="PlaceHolder 1"/>
          <p:cNvSpPr>
            <a:spLocks noGrp="1"/>
          </p:cNvSpPr>
          <p:nvPr>
            <p:ph type="sldNum"/>
          </p:nvPr>
        </p:nvSpPr>
        <p:spPr>
          <a:xfrm>
            <a:off x="8404200" y="4693320"/>
            <a:ext cx="548280" cy="299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0E4F86BB-65FB-4DAA-870C-D4759C88994F}" type="slidenum">
              <a:rPr lang="pt-BR" sz="1500" b="1" strike="noStrike" spc="-1">
                <a:solidFill>
                  <a:srgbClr val="EDF0EB"/>
                </a:solidFill>
                <a:latin typeface="Amatic SC"/>
                <a:ea typeface="Amatic SC"/>
              </a:rPr>
              <a:t>‹nº›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351" name="CustomShape 2"/>
          <p:cNvSpPr/>
          <p:nvPr/>
        </p:nvSpPr>
        <p:spPr>
          <a:xfrm>
            <a:off x="368280" y="422280"/>
            <a:ext cx="8379360" cy="4302360"/>
          </a:xfrm>
          <a:custGeom>
            <a:avLst/>
            <a:gdLst/>
            <a:ahLst/>
            <a:cxnLst/>
            <a:rect l="l" t="t" r="r" b="b"/>
            <a:pathLst>
              <a:path w="3971497" h="2039137">
                <a:moveTo>
                  <a:pt x="3947725" y="299512"/>
                </a:moveTo>
                <a:cubicBezTo>
                  <a:pt x="3924134" y="113307"/>
                  <a:pt x="3885284" y="33501"/>
                  <a:pt x="3686450" y="8902"/>
                </a:cubicBezTo>
                <a:cubicBezTo>
                  <a:pt x="3601997" y="-3398"/>
                  <a:pt x="3538196" y="330"/>
                  <a:pt x="3453085" y="1250"/>
                </a:cubicBezTo>
                <a:cubicBezTo>
                  <a:pt x="2545650" y="21443"/>
                  <a:pt x="1638390" y="51765"/>
                  <a:pt x="731371" y="878"/>
                </a:cubicBezTo>
                <a:cubicBezTo>
                  <a:pt x="642467" y="-87"/>
                  <a:pt x="553519" y="1250"/>
                  <a:pt x="464769" y="6534"/>
                </a:cubicBezTo>
                <a:cubicBezTo>
                  <a:pt x="385183" y="11292"/>
                  <a:pt x="302374" y="15304"/>
                  <a:pt x="224563" y="33743"/>
                </a:cubicBezTo>
                <a:cubicBezTo>
                  <a:pt x="159908" y="49090"/>
                  <a:pt x="106653" y="83204"/>
                  <a:pt x="86570" y="149329"/>
                </a:cubicBezTo>
                <a:cubicBezTo>
                  <a:pt x="9067" y="671747"/>
                  <a:pt x="-7925" y="1209227"/>
                  <a:pt x="2994" y="1737127"/>
                </a:cubicBezTo>
                <a:cubicBezTo>
                  <a:pt x="7729" y="2035301"/>
                  <a:pt x="225024" y="2012784"/>
                  <a:pt x="454881" y="2012828"/>
                </a:cubicBezTo>
                <a:cubicBezTo>
                  <a:pt x="1452075" y="2021379"/>
                  <a:pt x="2463170" y="2030543"/>
                  <a:pt x="3459136" y="2039138"/>
                </a:cubicBezTo>
                <a:cubicBezTo>
                  <a:pt x="3468432" y="2039138"/>
                  <a:pt x="3468235" y="2024426"/>
                  <a:pt x="3458544" y="2024339"/>
                </a:cubicBezTo>
                <a:cubicBezTo>
                  <a:pt x="2395752" y="2013552"/>
                  <a:pt x="1331030" y="2008487"/>
                  <a:pt x="268237" y="1995157"/>
                </a:cubicBezTo>
                <a:cubicBezTo>
                  <a:pt x="201871" y="1991167"/>
                  <a:pt x="129981" y="1978933"/>
                  <a:pt x="80870" y="1929997"/>
                </a:cubicBezTo>
                <a:cubicBezTo>
                  <a:pt x="27856" y="1877181"/>
                  <a:pt x="19898" y="1797332"/>
                  <a:pt x="17289" y="1726406"/>
                </a:cubicBezTo>
                <a:cubicBezTo>
                  <a:pt x="11150" y="1553355"/>
                  <a:pt x="12904" y="1379647"/>
                  <a:pt x="17289" y="1206596"/>
                </a:cubicBezTo>
                <a:cubicBezTo>
                  <a:pt x="24962" y="897125"/>
                  <a:pt x="46317" y="588368"/>
                  <a:pt x="81352" y="280328"/>
                </a:cubicBezTo>
                <a:cubicBezTo>
                  <a:pt x="89990" y="206026"/>
                  <a:pt x="89333" y="112868"/>
                  <a:pt x="163591" y="71825"/>
                </a:cubicBezTo>
                <a:cubicBezTo>
                  <a:pt x="194285" y="54286"/>
                  <a:pt x="229825" y="46349"/>
                  <a:pt x="264444" y="40978"/>
                </a:cubicBezTo>
                <a:cubicBezTo>
                  <a:pt x="347341" y="28174"/>
                  <a:pt x="431728" y="22408"/>
                  <a:pt x="515502" y="18746"/>
                </a:cubicBezTo>
                <a:cubicBezTo>
                  <a:pt x="692894" y="11029"/>
                  <a:pt x="870483" y="17869"/>
                  <a:pt x="1047743" y="26113"/>
                </a:cubicBezTo>
                <a:cubicBezTo>
                  <a:pt x="1755029" y="63845"/>
                  <a:pt x="2462863" y="37711"/>
                  <a:pt x="3170346" y="20654"/>
                </a:cubicBezTo>
                <a:cubicBezTo>
                  <a:pt x="3346028" y="20478"/>
                  <a:pt x="3500947" y="3289"/>
                  <a:pt x="3675948" y="22605"/>
                </a:cubicBezTo>
                <a:cubicBezTo>
                  <a:pt x="3819576" y="42556"/>
                  <a:pt x="3893001" y="73821"/>
                  <a:pt x="3920034" y="229880"/>
                </a:cubicBezTo>
                <a:cubicBezTo>
                  <a:pt x="4003348" y="663591"/>
                  <a:pt x="3918609" y="1093707"/>
                  <a:pt x="3926392" y="1543489"/>
                </a:cubicBezTo>
                <a:cubicBezTo>
                  <a:pt x="3926568" y="1553092"/>
                  <a:pt x="3940665" y="1547436"/>
                  <a:pt x="3940490" y="1538337"/>
                </a:cubicBezTo>
                <a:cubicBezTo>
                  <a:pt x="3933321" y="1127383"/>
                  <a:pt x="4008215" y="711694"/>
                  <a:pt x="3947725" y="2995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52" name="CustomShape 3"/>
          <p:cNvSpPr/>
          <p:nvPr/>
        </p:nvSpPr>
        <p:spPr>
          <a:xfrm rot="15927000">
            <a:off x="2373840" y="4308120"/>
            <a:ext cx="113040" cy="953280"/>
          </a:xfrm>
          <a:custGeom>
            <a:avLst/>
            <a:gdLst/>
            <a:ahLst/>
            <a:cxnLst/>
            <a:rect l="l" t="t" r="r" b="b"/>
            <a:pathLst>
              <a:path w="53711" h="452156">
                <a:moveTo>
                  <a:pt x="39194" y="6047"/>
                </a:moveTo>
                <a:cubicBezTo>
                  <a:pt x="16217" y="151582"/>
                  <a:pt x="8039" y="298805"/>
                  <a:pt x="15" y="445744"/>
                </a:cubicBezTo>
                <a:cubicBezTo>
                  <a:pt x="-533" y="455478"/>
                  <a:pt x="14244" y="453439"/>
                  <a:pt x="14748" y="444275"/>
                </a:cubicBezTo>
                <a:cubicBezTo>
                  <a:pt x="22707" y="298586"/>
                  <a:pt x="30819" y="152678"/>
                  <a:pt x="53598" y="8393"/>
                </a:cubicBezTo>
                <a:cubicBezTo>
                  <a:pt x="55133" y="-1298"/>
                  <a:pt x="40597" y="-3271"/>
                  <a:pt x="39194" y="60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53" name="CustomShape 4"/>
          <p:cNvSpPr/>
          <p:nvPr/>
        </p:nvSpPr>
        <p:spPr>
          <a:xfrm rot="15927000">
            <a:off x="2213640" y="4684680"/>
            <a:ext cx="79920" cy="398520"/>
          </a:xfrm>
          <a:custGeom>
            <a:avLst/>
            <a:gdLst/>
            <a:ahLst/>
            <a:cxnLst/>
            <a:rect l="l" t="t" r="r" b="b"/>
            <a:pathLst>
              <a:path w="38122" h="189118">
                <a:moveTo>
                  <a:pt x="23673" y="6072"/>
                </a:moveTo>
                <a:cubicBezTo>
                  <a:pt x="15809" y="64288"/>
                  <a:pt x="7945" y="122498"/>
                  <a:pt x="82" y="180701"/>
                </a:cubicBezTo>
                <a:cubicBezTo>
                  <a:pt x="-1212" y="190414"/>
                  <a:pt x="13237" y="192409"/>
                  <a:pt x="14486" y="183047"/>
                </a:cubicBezTo>
                <a:cubicBezTo>
                  <a:pt x="22364" y="124844"/>
                  <a:pt x="30213" y="66634"/>
                  <a:pt x="38033" y="8418"/>
                </a:cubicBezTo>
                <a:cubicBezTo>
                  <a:pt x="39393" y="-1295"/>
                  <a:pt x="24879" y="-3290"/>
                  <a:pt x="23673" y="607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54" name="CustomShape 5"/>
          <p:cNvSpPr/>
          <p:nvPr/>
        </p:nvSpPr>
        <p:spPr>
          <a:xfrm>
            <a:off x="5590080" y="299160"/>
            <a:ext cx="540000" cy="263880"/>
          </a:xfrm>
          <a:custGeom>
            <a:avLst/>
            <a:gdLst/>
            <a:ahLst/>
            <a:cxnLst/>
            <a:rect l="l" t="t" r="r" b="b"/>
            <a:pathLst>
              <a:path w="256043" h="125260">
                <a:moveTo>
                  <a:pt x="122835" y="3891"/>
                </a:moveTo>
                <a:cubicBezTo>
                  <a:pt x="106677" y="35258"/>
                  <a:pt x="90541" y="66632"/>
                  <a:pt x="74404" y="98013"/>
                </a:cubicBezTo>
                <a:cubicBezTo>
                  <a:pt x="67103" y="82972"/>
                  <a:pt x="59737" y="67939"/>
                  <a:pt x="52348" y="52914"/>
                </a:cubicBezTo>
                <a:cubicBezTo>
                  <a:pt x="49783" y="47630"/>
                  <a:pt x="41583" y="45218"/>
                  <a:pt x="38602" y="51708"/>
                </a:cubicBezTo>
                <a:cubicBezTo>
                  <a:pt x="30007" y="70416"/>
                  <a:pt x="17598" y="87110"/>
                  <a:pt x="2141" y="100709"/>
                </a:cubicBezTo>
                <a:cubicBezTo>
                  <a:pt x="-4787" y="106848"/>
                  <a:pt x="6723" y="116802"/>
                  <a:pt x="13629" y="110685"/>
                </a:cubicBezTo>
                <a:cubicBezTo>
                  <a:pt x="26258" y="99453"/>
                  <a:pt x="36979" y="86235"/>
                  <a:pt x="45354" y="71550"/>
                </a:cubicBezTo>
                <a:lnTo>
                  <a:pt x="67432" y="116670"/>
                </a:lnTo>
                <a:cubicBezTo>
                  <a:pt x="70107" y="122174"/>
                  <a:pt x="77978" y="124147"/>
                  <a:pt x="81179" y="117876"/>
                </a:cubicBezTo>
                <a:lnTo>
                  <a:pt x="128580" y="25793"/>
                </a:lnTo>
                <a:cubicBezTo>
                  <a:pt x="139147" y="55900"/>
                  <a:pt x="147259" y="86822"/>
                  <a:pt x="152784" y="118249"/>
                </a:cubicBezTo>
                <a:cubicBezTo>
                  <a:pt x="153969" y="125024"/>
                  <a:pt x="163462" y="128422"/>
                  <a:pt x="166970" y="121318"/>
                </a:cubicBezTo>
                <a:cubicBezTo>
                  <a:pt x="177515" y="99979"/>
                  <a:pt x="188039" y="78638"/>
                  <a:pt x="198585" y="57299"/>
                </a:cubicBezTo>
                <a:cubicBezTo>
                  <a:pt x="214107" y="75321"/>
                  <a:pt x="228819" y="94022"/>
                  <a:pt x="242434" y="113469"/>
                </a:cubicBezTo>
                <a:cubicBezTo>
                  <a:pt x="247959" y="121297"/>
                  <a:pt x="260259" y="113711"/>
                  <a:pt x="254580" y="105686"/>
                </a:cubicBezTo>
                <a:cubicBezTo>
                  <a:pt x="238509" y="82896"/>
                  <a:pt x="221145" y="61039"/>
                  <a:pt x="202575" y="40220"/>
                </a:cubicBezTo>
                <a:cubicBezTo>
                  <a:pt x="199023" y="36229"/>
                  <a:pt x="192512" y="35089"/>
                  <a:pt x="189705" y="40746"/>
                </a:cubicBezTo>
                <a:lnTo>
                  <a:pt x="163001" y="94899"/>
                </a:lnTo>
                <a:cubicBezTo>
                  <a:pt x="156468" y="64295"/>
                  <a:pt x="147566" y="34241"/>
                  <a:pt x="136407" y="5009"/>
                </a:cubicBezTo>
                <a:cubicBezTo>
                  <a:pt x="134324" y="-823"/>
                  <a:pt x="125861" y="-2029"/>
                  <a:pt x="122835" y="389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55" name="CustomShape 6"/>
          <p:cNvSpPr/>
          <p:nvPr/>
        </p:nvSpPr>
        <p:spPr>
          <a:xfrm>
            <a:off x="8371440" y="397440"/>
            <a:ext cx="290160" cy="230760"/>
          </a:xfrm>
          <a:custGeom>
            <a:avLst/>
            <a:gdLst/>
            <a:ahLst/>
            <a:cxnLst/>
            <a:rect l="l" t="t" r="r" b="b"/>
            <a:pathLst>
              <a:path w="137618" h="109585">
                <a:moveTo>
                  <a:pt x="136999" y="99882"/>
                </a:moveTo>
                <a:cubicBezTo>
                  <a:pt x="113869" y="47085"/>
                  <a:pt x="65635" y="9548"/>
                  <a:pt x="8785" y="104"/>
                </a:cubicBezTo>
                <a:cubicBezTo>
                  <a:pt x="-292" y="-1365"/>
                  <a:pt x="-3910" y="13258"/>
                  <a:pt x="5627" y="14771"/>
                </a:cubicBezTo>
                <a:cubicBezTo>
                  <a:pt x="57435" y="23274"/>
                  <a:pt x="101482" y="57237"/>
                  <a:pt x="122902" y="105166"/>
                </a:cubicBezTo>
                <a:cubicBezTo>
                  <a:pt x="126738" y="113936"/>
                  <a:pt x="140705" y="108323"/>
                  <a:pt x="136999" y="9988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56" name="CustomShape 7"/>
          <p:cNvSpPr/>
          <p:nvPr/>
        </p:nvSpPr>
        <p:spPr>
          <a:xfrm>
            <a:off x="8526240" y="347400"/>
            <a:ext cx="132120" cy="90720"/>
          </a:xfrm>
          <a:custGeom>
            <a:avLst/>
            <a:gdLst/>
            <a:ahLst/>
            <a:cxnLst/>
            <a:rect l="l" t="t" r="r" b="b"/>
            <a:pathLst>
              <a:path w="62762" h="43243">
                <a:moveTo>
                  <a:pt x="60351" y="30032"/>
                </a:moveTo>
                <a:cubicBezTo>
                  <a:pt x="45705" y="17367"/>
                  <a:pt x="28955" y="7372"/>
                  <a:pt x="10845" y="500"/>
                </a:cubicBezTo>
                <a:cubicBezTo>
                  <a:pt x="2273" y="-2745"/>
                  <a:pt x="-4765" y="10739"/>
                  <a:pt x="4092" y="14093"/>
                </a:cubicBezTo>
                <a:cubicBezTo>
                  <a:pt x="20996" y="20446"/>
                  <a:pt x="36672" y="29731"/>
                  <a:pt x="50353" y="41521"/>
                </a:cubicBezTo>
                <a:cubicBezTo>
                  <a:pt x="57413" y="47594"/>
                  <a:pt x="67410" y="36127"/>
                  <a:pt x="60351" y="3003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57" name="CustomShape 8"/>
          <p:cNvSpPr/>
          <p:nvPr/>
        </p:nvSpPr>
        <p:spPr>
          <a:xfrm>
            <a:off x="331200" y="1999440"/>
            <a:ext cx="211320" cy="267480"/>
          </a:xfrm>
          <a:custGeom>
            <a:avLst/>
            <a:gdLst/>
            <a:ahLst/>
            <a:cxnLst/>
            <a:rect l="l" t="t" r="r" b="b"/>
            <a:pathLst>
              <a:path w="100280" h="126996">
                <a:moveTo>
                  <a:pt x="96357" y="74864"/>
                </a:moveTo>
                <a:cubicBezTo>
                  <a:pt x="82786" y="68484"/>
                  <a:pt x="69679" y="61157"/>
                  <a:pt x="57134" y="52940"/>
                </a:cubicBezTo>
                <a:cubicBezTo>
                  <a:pt x="68090" y="38401"/>
                  <a:pt x="80061" y="24657"/>
                  <a:pt x="92959" y="11809"/>
                </a:cubicBezTo>
                <a:cubicBezTo>
                  <a:pt x="99865" y="4925"/>
                  <a:pt x="88969" y="-4459"/>
                  <a:pt x="81997" y="2382"/>
                </a:cubicBezTo>
                <a:cubicBezTo>
                  <a:pt x="68721" y="15624"/>
                  <a:pt x="56406" y="29794"/>
                  <a:pt x="45141" y="44784"/>
                </a:cubicBezTo>
                <a:cubicBezTo>
                  <a:pt x="33594" y="36487"/>
                  <a:pt x="22607" y="27435"/>
                  <a:pt x="12255" y="17685"/>
                </a:cubicBezTo>
                <a:cubicBezTo>
                  <a:pt x="5480" y="11305"/>
                  <a:pt x="-4518" y="22793"/>
                  <a:pt x="2257" y="29173"/>
                </a:cubicBezTo>
                <a:cubicBezTo>
                  <a:pt x="12947" y="39230"/>
                  <a:pt x="24293" y="48568"/>
                  <a:pt x="36218" y="57127"/>
                </a:cubicBezTo>
                <a:cubicBezTo>
                  <a:pt x="23171" y="75947"/>
                  <a:pt x="11779" y="95863"/>
                  <a:pt x="2169" y="116652"/>
                </a:cubicBezTo>
                <a:cubicBezTo>
                  <a:pt x="-1953" y="125554"/>
                  <a:pt x="11246" y="131429"/>
                  <a:pt x="15324" y="122703"/>
                </a:cubicBezTo>
                <a:cubicBezTo>
                  <a:pt x="24609" y="102651"/>
                  <a:pt x="35613" y="83439"/>
                  <a:pt x="48211" y="65283"/>
                </a:cubicBezTo>
                <a:cubicBezTo>
                  <a:pt x="61447" y="73978"/>
                  <a:pt x="75279" y="81731"/>
                  <a:pt x="89604" y="88479"/>
                </a:cubicBezTo>
                <a:cubicBezTo>
                  <a:pt x="97936" y="92360"/>
                  <a:pt x="104951" y="78898"/>
                  <a:pt x="96357" y="7486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58" name="CustomShape 9"/>
          <p:cNvSpPr/>
          <p:nvPr/>
        </p:nvSpPr>
        <p:spPr>
          <a:xfrm>
            <a:off x="8564760" y="3584520"/>
            <a:ext cx="200520" cy="172440"/>
          </a:xfrm>
          <a:custGeom>
            <a:avLst/>
            <a:gdLst/>
            <a:ahLst/>
            <a:cxnLst/>
            <a:rect l="l" t="t" r="r" b="b"/>
            <a:pathLst>
              <a:path w="95214" h="81892">
                <a:moveTo>
                  <a:pt x="92489" y="65480"/>
                </a:moveTo>
                <a:lnTo>
                  <a:pt x="61028" y="43753"/>
                </a:lnTo>
                <a:cubicBezTo>
                  <a:pt x="70521" y="33157"/>
                  <a:pt x="80036" y="22580"/>
                  <a:pt x="89530" y="12028"/>
                </a:cubicBezTo>
                <a:cubicBezTo>
                  <a:pt x="96107" y="4771"/>
                  <a:pt x="85145" y="-4635"/>
                  <a:pt x="78567" y="2600"/>
                </a:cubicBezTo>
                <a:lnTo>
                  <a:pt x="48991" y="35487"/>
                </a:lnTo>
                <a:lnTo>
                  <a:pt x="12684" y="10383"/>
                </a:lnTo>
                <a:cubicBezTo>
                  <a:pt x="5098" y="5144"/>
                  <a:pt x="-4856" y="16610"/>
                  <a:pt x="2687" y="21872"/>
                </a:cubicBezTo>
                <a:lnTo>
                  <a:pt x="38796" y="46844"/>
                </a:lnTo>
                <a:lnTo>
                  <a:pt x="18275" y="69865"/>
                </a:lnTo>
                <a:cubicBezTo>
                  <a:pt x="11697" y="77122"/>
                  <a:pt x="22660" y="86527"/>
                  <a:pt x="29237" y="79292"/>
                </a:cubicBezTo>
                <a:lnTo>
                  <a:pt x="50942" y="55175"/>
                </a:lnTo>
                <a:lnTo>
                  <a:pt x="82601" y="77100"/>
                </a:lnTo>
                <a:cubicBezTo>
                  <a:pt x="90078" y="82296"/>
                  <a:pt x="100119" y="70829"/>
                  <a:pt x="92489" y="6548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59" name="CustomShape 10"/>
          <p:cNvSpPr/>
          <p:nvPr/>
        </p:nvSpPr>
        <p:spPr>
          <a:xfrm rot="5069400">
            <a:off x="7853400" y="3741840"/>
            <a:ext cx="813960" cy="1022040"/>
          </a:xfrm>
          <a:custGeom>
            <a:avLst/>
            <a:gdLst/>
            <a:ahLst/>
            <a:cxnLst/>
            <a:rect l="l" t="t" r="r" b="b"/>
            <a:pathLst>
              <a:path w="385904" h="484587">
                <a:moveTo>
                  <a:pt x="316148" y="219239"/>
                </a:moveTo>
                <a:cubicBezTo>
                  <a:pt x="261491" y="116194"/>
                  <a:pt x="157744" y="32311"/>
                  <a:pt x="38101" y="26786"/>
                </a:cubicBezTo>
                <a:cubicBezTo>
                  <a:pt x="47463" y="22510"/>
                  <a:pt x="56935" y="18432"/>
                  <a:pt x="66471" y="14530"/>
                </a:cubicBezTo>
                <a:cubicBezTo>
                  <a:pt x="75241" y="10978"/>
                  <a:pt x="71273" y="-3010"/>
                  <a:pt x="62086" y="586"/>
                </a:cubicBezTo>
                <a:cubicBezTo>
                  <a:pt x="42552" y="8566"/>
                  <a:pt x="23390" y="17336"/>
                  <a:pt x="4578" y="26895"/>
                </a:cubicBezTo>
                <a:cubicBezTo>
                  <a:pt x="-2854" y="30645"/>
                  <a:pt x="-508" y="42440"/>
                  <a:pt x="6398" y="41585"/>
                </a:cubicBezTo>
                <a:cubicBezTo>
                  <a:pt x="7473" y="41870"/>
                  <a:pt x="8591" y="41957"/>
                  <a:pt x="9709" y="41826"/>
                </a:cubicBezTo>
                <a:cubicBezTo>
                  <a:pt x="22162" y="48710"/>
                  <a:pt x="33190" y="57875"/>
                  <a:pt x="42267" y="68837"/>
                </a:cubicBezTo>
                <a:cubicBezTo>
                  <a:pt x="48231" y="76094"/>
                  <a:pt x="60618" y="67368"/>
                  <a:pt x="54786" y="60265"/>
                </a:cubicBezTo>
                <a:cubicBezTo>
                  <a:pt x="49217" y="53468"/>
                  <a:pt x="42990" y="47241"/>
                  <a:pt x="36216" y="41650"/>
                </a:cubicBezTo>
                <a:cubicBezTo>
                  <a:pt x="257544" y="58730"/>
                  <a:pt x="357411" y="281133"/>
                  <a:pt x="371135" y="478147"/>
                </a:cubicBezTo>
                <a:cubicBezTo>
                  <a:pt x="372034" y="487859"/>
                  <a:pt x="386723" y="485952"/>
                  <a:pt x="385869" y="476678"/>
                </a:cubicBezTo>
                <a:cubicBezTo>
                  <a:pt x="377756" y="387730"/>
                  <a:pt x="358704" y="298409"/>
                  <a:pt x="316148" y="2192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60" name="CustomShape 11"/>
          <p:cNvSpPr/>
          <p:nvPr/>
        </p:nvSpPr>
        <p:spPr>
          <a:xfrm rot="5400000">
            <a:off x="305640" y="304200"/>
            <a:ext cx="745920" cy="775440"/>
          </a:xfrm>
          <a:custGeom>
            <a:avLst/>
            <a:gdLst/>
            <a:ahLst/>
            <a:cxnLst/>
            <a:rect l="l" t="t" r="r" b="b"/>
            <a:pathLst>
              <a:path w="353675" h="367635">
                <a:moveTo>
                  <a:pt x="349850" y="316408"/>
                </a:moveTo>
                <a:cubicBezTo>
                  <a:pt x="344216" y="307967"/>
                  <a:pt x="337265" y="300140"/>
                  <a:pt x="331061" y="292094"/>
                </a:cubicBezTo>
                <a:cubicBezTo>
                  <a:pt x="325295" y="284639"/>
                  <a:pt x="312907" y="293387"/>
                  <a:pt x="318542" y="300688"/>
                </a:cubicBezTo>
                <a:cubicBezTo>
                  <a:pt x="320142" y="302661"/>
                  <a:pt x="330951" y="317022"/>
                  <a:pt x="332574" y="318447"/>
                </a:cubicBezTo>
                <a:cubicBezTo>
                  <a:pt x="270198" y="313689"/>
                  <a:pt x="197781" y="305292"/>
                  <a:pt x="142554" y="274598"/>
                </a:cubicBezTo>
                <a:cubicBezTo>
                  <a:pt x="87348" y="239760"/>
                  <a:pt x="52202" y="175937"/>
                  <a:pt x="31747" y="115404"/>
                </a:cubicBezTo>
                <a:cubicBezTo>
                  <a:pt x="20542" y="80171"/>
                  <a:pt x="14804" y="43432"/>
                  <a:pt x="14733" y="6461"/>
                </a:cubicBezTo>
                <a:cubicBezTo>
                  <a:pt x="14733" y="-3318"/>
                  <a:pt x="-44" y="-1323"/>
                  <a:pt x="0" y="7930"/>
                </a:cubicBezTo>
                <a:cubicBezTo>
                  <a:pt x="1184" y="107971"/>
                  <a:pt x="41065" y="213209"/>
                  <a:pt x="119862" y="277470"/>
                </a:cubicBezTo>
                <a:cubicBezTo>
                  <a:pt x="177501" y="318403"/>
                  <a:pt x="263467" y="328116"/>
                  <a:pt x="332705" y="333158"/>
                </a:cubicBezTo>
                <a:cubicBezTo>
                  <a:pt x="322510" y="340196"/>
                  <a:pt x="316437" y="346182"/>
                  <a:pt x="307470" y="353702"/>
                </a:cubicBezTo>
                <a:cubicBezTo>
                  <a:pt x="300301" y="359863"/>
                  <a:pt x="307821" y="372250"/>
                  <a:pt x="315275" y="365848"/>
                </a:cubicBezTo>
                <a:lnTo>
                  <a:pt x="340028" y="344647"/>
                </a:lnTo>
                <a:cubicBezTo>
                  <a:pt x="350048" y="337171"/>
                  <a:pt x="359037" y="328927"/>
                  <a:pt x="349850" y="31640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61" name="PlaceHolder 1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Clique para editar o formato do texto do título</a:t>
            </a:r>
          </a:p>
        </p:txBody>
      </p:sp>
      <p:sp>
        <p:nvSpPr>
          <p:cNvPr id="362" name="PlaceHolder 1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Clique para editar o formato do texto da estrutura de tópicos</a:t>
            </a:r>
          </a:p>
          <a:p>
            <a:pPr marL="864000" lvl="1" indent="-324000">
              <a:spcBef>
                <a:spcPts val="1134"/>
              </a:spcBef>
              <a:buClr>
                <a:srgbClr val="FFFFFF"/>
              </a:buClr>
              <a:buSzPct val="75000"/>
              <a:buFont typeface="Symbol" charset="2"/>
              <a:buChar char="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2.º nível da estrutura de tópicos</a:t>
            </a:r>
          </a:p>
          <a:p>
            <a:pPr marL="1296000" lvl="2" indent="-288000">
              <a:spcBef>
                <a:spcPts val="850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3.º nível da estrutura de tópicos</a:t>
            </a:r>
          </a:p>
          <a:p>
            <a:pPr marL="1728000" lvl="3" indent="-216000">
              <a:spcBef>
                <a:spcPts val="567"/>
              </a:spcBef>
              <a:buClr>
                <a:srgbClr val="FFFFFF"/>
              </a:buClr>
              <a:buSzPct val="75000"/>
              <a:buFont typeface="Symbol" charset="2"/>
              <a:buChar char="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4.º nível da estrutura de tópicos</a:t>
            </a:r>
          </a:p>
          <a:p>
            <a:pPr marL="2160000" lvl="4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5.º nível da estrutura de tópicos</a:t>
            </a:r>
          </a:p>
          <a:p>
            <a:pPr marL="2592000" lvl="5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6.º nível da estrutura de tópicos</a:t>
            </a:r>
          </a:p>
          <a:p>
            <a:pPr marL="3024000" lvl="6" indent="-216000">
              <a:spcBef>
                <a:spcPts val="283"/>
              </a:spcBef>
              <a:buClr>
                <a:srgbClr val="FFFFFF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7.º nível da estrutura de tópico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" name="PlaceHolder 1"/>
          <p:cNvSpPr>
            <a:spLocks noGrp="1"/>
          </p:cNvSpPr>
          <p:nvPr>
            <p:ph type="sldNum"/>
          </p:nvPr>
        </p:nvSpPr>
        <p:spPr>
          <a:xfrm>
            <a:off x="8404200" y="4693320"/>
            <a:ext cx="548280" cy="299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B0A5DE60-FD00-4999-8929-5D2E118E672E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‹nº›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400" name="CustomShape 2"/>
          <p:cNvSpPr/>
          <p:nvPr/>
        </p:nvSpPr>
        <p:spPr>
          <a:xfrm>
            <a:off x="368280" y="422280"/>
            <a:ext cx="8379360" cy="4302360"/>
          </a:xfrm>
          <a:custGeom>
            <a:avLst/>
            <a:gdLst/>
            <a:ahLst/>
            <a:cxnLst/>
            <a:rect l="l" t="t" r="r" b="b"/>
            <a:pathLst>
              <a:path w="3971497" h="2039137">
                <a:moveTo>
                  <a:pt x="3947725" y="299512"/>
                </a:moveTo>
                <a:cubicBezTo>
                  <a:pt x="3924134" y="113307"/>
                  <a:pt x="3885284" y="33501"/>
                  <a:pt x="3686450" y="8902"/>
                </a:cubicBezTo>
                <a:cubicBezTo>
                  <a:pt x="3601997" y="-3398"/>
                  <a:pt x="3538196" y="330"/>
                  <a:pt x="3453085" y="1250"/>
                </a:cubicBezTo>
                <a:cubicBezTo>
                  <a:pt x="2545650" y="21443"/>
                  <a:pt x="1638390" y="51765"/>
                  <a:pt x="731371" y="878"/>
                </a:cubicBezTo>
                <a:cubicBezTo>
                  <a:pt x="642467" y="-87"/>
                  <a:pt x="553519" y="1250"/>
                  <a:pt x="464769" y="6534"/>
                </a:cubicBezTo>
                <a:cubicBezTo>
                  <a:pt x="385183" y="11292"/>
                  <a:pt x="302374" y="15304"/>
                  <a:pt x="224563" y="33743"/>
                </a:cubicBezTo>
                <a:cubicBezTo>
                  <a:pt x="159908" y="49090"/>
                  <a:pt x="106653" y="83204"/>
                  <a:pt x="86570" y="149329"/>
                </a:cubicBezTo>
                <a:cubicBezTo>
                  <a:pt x="9067" y="671747"/>
                  <a:pt x="-7925" y="1209227"/>
                  <a:pt x="2994" y="1737127"/>
                </a:cubicBezTo>
                <a:cubicBezTo>
                  <a:pt x="7729" y="2035301"/>
                  <a:pt x="225024" y="2012784"/>
                  <a:pt x="454881" y="2012828"/>
                </a:cubicBezTo>
                <a:cubicBezTo>
                  <a:pt x="1452075" y="2021379"/>
                  <a:pt x="2463170" y="2030543"/>
                  <a:pt x="3459136" y="2039138"/>
                </a:cubicBezTo>
                <a:cubicBezTo>
                  <a:pt x="3468432" y="2039138"/>
                  <a:pt x="3468235" y="2024426"/>
                  <a:pt x="3458544" y="2024339"/>
                </a:cubicBezTo>
                <a:cubicBezTo>
                  <a:pt x="2395752" y="2013552"/>
                  <a:pt x="1331030" y="2008487"/>
                  <a:pt x="268237" y="1995157"/>
                </a:cubicBezTo>
                <a:cubicBezTo>
                  <a:pt x="201871" y="1991167"/>
                  <a:pt x="129981" y="1978933"/>
                  <a:pt x="80870" y="1929997"/>
                </a:cubicBezTo>
                <a:cubicBezTo>
                  <a:pt x="27856" y="1877181"/>
                  <a:pt x="19898" y="1797332"/>
                  <a:pt x="17289" y="1726406"/>
                </a:cubicBezTo>
                <a:cubicBezTo>
                  <a:pt x="11150" y="1553355"/>
                  <a:pt x="12904" y="1379647"/>
                  <a:pt x="17289" y="1206596"/>
                </a:cubicBezTo>
                <a:cubicBezTo>
                  <a:pt x="24962" y="897125"/>
                  <a:pt x="46317" y="588368"/>
                  <a:pt x="81352" y="280328"/>
                </a:cubicBezTo>
                <a:cubicBezTo>
                  <a:pt x="89990" y="206026"/>
                  <a:pt x="89333" y="112868"/>
                  <a:pt x="163591" y="71825"/>
                </a:cubicBezTo>
                <a:cubicBezTo>
                  <a:pt x="194285" y="54286"/>
                  <a:pt x="229825" y="46349"/>
                  <a:pt x="264444" y="40978"/>
                </a:cubicBezTo>
                <a:cubicBezTo>
                  <a:pt x="347341" y="28174"/>
                  <a:pt x="431728" y="22408"/>
                  <a:pt x="515502" y="18746"/>
                </a:cubicBezTo>
                <a:cubicBezTo>
                  <a:pt x="692894" y="11029"/>
                  <a:pt x="870483" y="17869"/>
                  <a:pt x="1047743" y="26113"/>
                </a:cubicBezTo>
                <a:cubicBezTo>
                  <a:pt x="1755029" y="63845"/>
                  <a:pt x="2462863" y="37711"/>
                  <a:pt x="3170346" y="20654"/>
                </a:cubicBezTo>
                <a:cubicBezTo>
                  <a:pt x="3346028" y="20478"/>
                  <a:pt x="3500947" y="3289"/>
                  <a:pt x="3675948" y="22605"/>
                </a:cubicBezTo>
                <a:cubicBezTo>
                  <a:pt x="3819576" y="42556"/>
                  <a:pt x="3893001" y="73821"/>
                  <a:pt x="3920034" y="229880"/>
                </a:cubicBezTo>
                <a:cubicBezTo>
                  <a:pt x="4003348" y="663591"/>
                  <a:pt x="3918609" y="1093707"/>
                  <a:pt x="3926392" y="1543489"/>
                </a:cubicBezTo>
                <a:cubicBezTo>
                  <a:pt x="3926568" y="1553092"/>
                  <a:pt x="3940665" y="1547436"/>
                  <a:pt x="3940490" y="1538337"/>
                </a:cubicBezTo>
                <a:cubicBezTo>
                  <a:pt x="3933321" y="1127383"/>
                  <a:pt x="4008215" y="711694"/>
                  <a:pt x="3947725" y="29951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01" name="CustomShape 3"/>
          <p:cNvSpPr/>
          <p:nvPr/>
        </p:nvSpPr>
        <p:spPr>
          <a:xfrm rot="15927000">
            <a:off x="2373840" y="4308120"/>
            <a:ext cx="113040" cy="953280"/>
          </a:xfrm>
          <a:custGeom>
            <a:avLst/>
            <a:gdLst/>
            <a:ahLst/>
            <a:cxnLst/>
            <a:rect l="l" t="t" r="r" b="b"/>
            <a:pathLst>
              <a:path w="53711" h="452156">
                <a:moveTo>
                  <a:pt x="39194" y="6047"/>
                </a:moveTo>
                <a:cubicBezTo>
                  <a:pt x="16217" y="151582"/>
                  <a:pt x="8039" y="298805"/>
                  <a:pt x="15" y="445744"/>
                </a:cubicBezTo>
                <a:cubicBezTo>
                  <a:pt x="-533" y="455478"/>
                  <a:pt x="14244" y="453439"/>
                  <a:pt x="14748" y="444275"/>
                </a:cubicBezTo>
                <a:cubicBezTo>
                  <a:pt x="22707" y="298586"/>
                  <a:pt x="30819" y="152678"/>
                  <a:pt x="53598" y="8393"/>
                </a:cubicBezTo>
                <a:cubicBezTo>
                  <a:pt x="55133" y="-1298"/>
                  <a:pt x="40597" y="-3271"/>
                  <a:pt x="39194" y="6047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02" name="CustomShape 4"/>
          <p:cNvSpPr/>
          <p:nvPr/>
        </p:nvSpPr>
        <p:spPr>
          <a:xfrm rot="15927000">
            <a:off x="2213640" y="4684680"/>
            <a:ext cx="79920" cy="398520"/>
          </a:xfrm>
          <a:custGeom>
            <a:avLst/>
            <a:gdLst/>
            <a:ahLst/>
            <a:cxnLst/>
            <a:rect l="l" t="t" r="r" b="b"/>
            <a:pathLst>
              <a:path w="38122" h="189118">
                <a:moveTo>
                  <a:pt x="23673" y="6072"/>
                </a:moveTo>
                <a:cubicBezTo>
                  <a:pt x="15809" y="64288"/>
                  <a:pt x="7945" y="122498"/>
                  <a:pt x="82" y="180701"/>
                </a:cubicBezTo>
                <a:cubicBezTo>
                  <a:pt x="-1212" y="190414"/>
                  <a:pt x="13237" y="192409"/>
                  <a:pt x="14486" y="183047"/>
                </a:cubicBezTo>
                <a:cubicBezTo>
                  <a:pt x="22364" y="124844"/>
                  <a:pt x="30213" y="66634"/>
                  <a:pt x="38033" y="8418"/>
                </a:cubicBezTo>
                <a:cubicBezTo>
                  <a:pt x="39393" y="-1295"/>
                  <a:pt x="24879" y="-3290"/>
                  <a:pt x="23673" y="607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03" name="CustomShape 5"/>
          <p:cNvSpPr/>
          <p:nvPr/>
        </p:nvSpPr>
        <p:spPr>
          <a:xfrm>
            <a:off x="5590080" y="299160"/>
            <a:ext cx="540000" cy="263880"/>
          </a:xfrm>
          <a:custGeom>
            <a:avLst/>
            <a:gdLst/>
            <a:ahLst/>
            <a:cxnLst/>
            <a:rect l="l" t="t" r="r" b="b"/>
            <a:pathLst>
              <a:path w="256043" h="125260">
                <a:moveTo>
                  <a:pt x="122835" y="3891"/>
                </a:moveTo>
                <a:cubicBezTo>
                  <a:pt x="106677" y="35258"/>
                  <a:pt x="90541" y="66632"/>
                  <a:pt x="74404" y="98013"/>
                </a:cubicBezTo>
                <a:cubicBezTo>
                  <a:pt x="67103" y="82972"/>
                  <a:pt x="59737" y="67939"/>
                  <a:pt x="52348" y="52914"/>
                </a:cubicBezTo>
                <a:cubicBezTo>
                  <a:pt x="49783" y="47630"/>
                  <a:pt x="41583" y="45218"/>
                  <a:pt x="38602" y="51708"/>
                </a:cubicBezTo>
                <a:cubicBezTo>
                  <a:pt x="30007" y="70416"/>
                  <a:pt x="17598" y="87110"/>
                  <a:pt x="2141" y="100709"/>
                </a:cubicBezTo>
                <a:cubicBezTo>
                  <a:pt x="-4787" y="106848"/>
                  <a:pt x="6723" y="116802"/>
                  <a:pt x="13629" y="110685"/>
                </a:cubicBezTo>
                <a:cubicBezTo>
                  <a:pt x="26258" y="99453"/>
                  <a:pt x="36979" y="86235"/>
                  <a:pt x="45354" y="71550"/>
                </a:cubicBezTo>
                <a:lnTo>
                  <a:pt x="67432" y="116670"/>
                </a:lnTo>
                <a:cubicBezTo>
                  <a:pt x="70107" y="122174"/>
                  <a:pt x="77978" y="124147"/>
                  <a:pt x="81179" y="117876"/>
                </a:cubicBezTo>
                <a:lnTo>
                  <a:pt x="128580" y="25793"/>
                </a:lnTo>
                <a:cubicBezTo>
                  <a:pt x="139147" y="55900"/>
                  <a:pt x="147259" y="86822"/>
                  <a:pt x="152784" y="118249"/>
                </a:cubicBezTo>
                <a:cubicBezTo>
                  <a:pt x="153969" y="125024"/>
                  <a:pt x="163462" y="128422"/>
                  <a:pt x="166970" y="121318"/>
                </a:cubicBezTo>
                <a:cubicBezTo>
                  <a:pt x="177515" y="99979"/>
                  <a:pt x="188039" y="78638"/>
                  <a:pt x="198585" y="57299"/>
                </a:cubicBezTo>
                <a:cubicBezTo>
                  <a:pt x="214107" y="75321"/>
                  <a:pt x="228819" y="94022"/>
                  <a:pt x="242434" y="113469"/>
                </a:cubicBezTo>
                <a:cubicBezTo>
                  <a:pt x="247959" y="121297"/>
                  <a:pt x="260259" y="113711"/>
                  <a:pt x="254580" y="105686"/>
                </a:cubicBezTo>
                <a:cubicBezTo>
                  <a:pt x="238509" y="82896"/>
                  <a:pt x="221145" y="61039"/>
                  <a:pt x="202575" y="40220"/>
                </a:cubicBezTo>
                <a:cubicBezTo>
                  <a:pt x="199023" y="36229"/>
                  <a:pt x="192512" y="35089"/>
                  <a:pt x="189705" y="40746"/>
                </a:cubicBezTo>
                <a:lnTo>
                  <a:pt x="163001" y="94899"/>
                </a:lnTo>
                <a:cubicBezTo>
                  <a:pt x="156468" y="64295"/>
                  <a:pt x="147566" y="34241"/>
                  <a:pt x="136407" y="5009"/>
                </a:cubicBezTo>
                <a:cubicBezTo>
                  <a:pt x="134324" y="-823"/>
                  <a:pt x="125861" y="-2029"/>
                  <a:pt x="122835" y="389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04" name="CustomShape 6"/>
          <p:cNvSpPr/>
          <p:nvPr/>
        </p:nvSpPr>
        <p:spPr>
          <a:xfrm>
            <a:off x="8371440" y="397440"/>
            <a:ext cx="290160" cy="230760"/>
          </a:xfrm>
          <a:custGeom>
            <a:avLst/>
            <a:gdLst/>
            <a:ahLst/>
            <a:cxnLst/>
            <a:rect l="l" t="t" r="r" b="b"/>
            <a:pathLst>
              <a:path w="137618" h="109585">
                <a:moveTo>
                  <a:pt x="136999" y="99882"/>
                </a:moveTo>
                <a:cubicBezTo>
                  <a:pt x="113869" y="47085"/>
                  <a:pt x="65635" y="9548"/>
                  <a:pt x="8785" y="104"/>
                </a:cubicBezTo>
                <a:cubicBezTo>
                  <a:pt x="-292" y="-1365"/>
                  <a:pt x="-3910" y="13258"/>
                  <a:pt x="5627" y="14771"/>
                </a:cubicBezTo>
                <a:cubicBezTo>
                  <a:pt x="57435" y="23274"/>
                  <a:pt x="101482" y="57237"/>
                  <a:pt x="122902" y="105166"/>
                </a:cubicBezTo>
                <a:cubicBezTo>
                  <a:pt x="126738" y="113936"/>
                  <a:pt x="140705" y="108323"/>
                  <a:pt x="136999" y="9988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05" name="CustomShape 7"/>
          <p:cNvSpPr/>
          <p:nvPr/>
        </p:nvSpPr>
        <p:spPr>
          <a:xfrm>
            <a:off x="8526240" y="347400"/>
            <a:ext cx="132120" cy="90720"/>
          </a:xfrm>
          <a:custGeom>
            <a:avLst/>
            <a:gdLst/>
            <a:ahLst/>
            <a:cxnLst/>
            <a:rect l="l" t="t" r="r" b="b"/>
            <a:pathLst>
              <a:path w="62762" h="43243">
                <a:moveTo>
                  <a:pt x="60351" y="30032"/>
                </a:moveTo>
                <a:cubicBezTo>
                  <a:pt x="45705" y="17367"/>
                  <a:pt x="28955" y="7372"/>
                  <a:pt x="10845" y="500"/>
                </a:cubicBezTo>
                <a:cubicBezTo>
                  <a:pt x="2273" y="-2745"/>
                  <a:pt x="-4765" y="10739"/>
                  <a:pt x="4092" y="14093"/>
                </a:cubicBezTo>
                <a:cubicBezTo>
                  <a:pt x="20996" y="20446"/>
                  <a:pt x="36672" y="29731"/>
                  <a:pt x="50353" y="41521"/>
                </a:cubicBezTo>
                <a:cubicBezTo>
                  <a:pt x="57413" y="47594"/>
                  <a:pt x="67410" y="36127"/>
                  <a:pt x="60351" y="30032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06" name="CustomShape 8"/>
          <p:cNvSpPr/>
          <p:nvPr/>
        </p:nvSpPr>
        <p:spPr>
          <a:xfrm>
            <a:off x="331200" y="1999440"/>
            <a:ext cx="211320" cy="267480"/>
          </a:xfrm>
          <a:custGeom>
            <a:avLst/>
            <a:gdLst/>
            <a:ahLst/>
            <a:cxnLst/>
            <a:rect l="l" t="t" r="r" b="b"/>
            <a:pathLst>
              <a:path w="100280" h="126996">
                <a:moveTo>
                  <a:pt x="96357" y="74864"/>
                </a:moveTo>
                <a:cubicBezTo>
                  <a:pt x="82786" y="68484"/>
                  <a:pt x="69679" y="61157"/>
                  <a:pt x="57134" y="52940"/>
                </a:cubicBezTo>
                <a:cubicBezTo>
                  <a:pt x="68090" y="38401"/>
                  <a:pt x="80061" y="24657"/>
                  <a:pt x="92959" y="11809"/>
                </a:cubicBezTo>
                <a:cubicBezTo>
                  <a:pt x="99865" y="4925"/>
                  <a:pt x="88969" y="-4459"/>
                  <a:pt x="81997" y="2382"/>
                </a:cubicBezTo>
                <a:cubicBezTo>
                  <a:pt x="68721" y="15624"/>
                  <a:pt x="56406" y="29794"/>
                  <a:pt x="45141" y="44784"/>
                </a:cubicBezTo>
                <a:cubicBezTo>
                  <a:pt x="33594" y="36487"/>
                  <a:pt x="22607" y="27435"/>
                  <a:pt x="12255" y="17685"/>
                </a:cubicBezTo>
                <a:cubicBezTo>
                  <a:pt x="5480" y="11305"/>
                  <a:pt x="-4518" y="22793"/>
                  <a:pt x="2257" y="29173"/>
                </a:cubicBezTo>
                <a:cubicBezTo>
                  <a:pt x="12947" y="39230"/>
                  <a:pt x="24293" y="48568"/>
                  <a:pt x="36218" y="57127"/>
                </a:cubicBezTo>
                <a:cubicBezTo>
                  <a:pt x="23171" y="75947"/>
                  <a:pt x="11779" y="95863"/>
                  <a:pt x="2169" y="116652"/>
                </a:cubicBezTo>
                <a:cubicBezTo>
                  <a:pt x="-1953" y="125554"/>
                  <a:pt x="11246" y="131429"/>
                  <a:pt x="15324" y="122703"/>
                </a:cubicBezTo>
                <a:cubicBezTo>
                  <a:pt x="24609" y="102651"/>
                  <a:pt x="35613" y="83439"/>
                  <a:pt x="48211" y="65283"/>
                </a:cubicBezTo>
                <a:cubicBezTo>
                  <a:pt x="61447" y="73978"/>
                  <a:pt x="75279" y="81731"/>
                  <a:pt x="89604" y="88479"/>
                </a:cubicBezTo>
                <a:cubicBezTo>
                  <a:pt x="97936" y="92360"/>
                  <a:pt x="104951" y="78898"/>
                  <a:pt x="96357" y="74864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07" name="CustomShape 9"/>
          <p:cNvSpPr/>
          <p:nvPr/>
        </p:nvSpPr>
        <p:spPr>
          <a:xfrm>
            <a:off x="8564760" y="3584520"/>
            <a:ext cx="200520" cy="172440"/>
          </a:xfrm>
          <a:custGeom>
            <a:avLst/>
            <a:gdLst/>
            <a:ahLst/>
            <a:cxnLst/>
            <a:rect l="l" t="t" r="r" b="b"/>
            <a:pathLst>
              <a:path w="95214" h="81892">
                <a:moveTo>
                  <a:pt x="92489" y="65480"/>
                </a:moveTo>
                <a:lnTo>
                  <a:pt x="61028" y="43753"/>
                </a:lnTo>
                <a:cubicBezTo>
                  <a:pt x="70521" y="33157"/>
                  <a:pt x="80036" y="22580"/>
                  <a:pt x="89530" y="12028"/>
                </a:cubicBezTo>
                <a:cubicBezTo>
                  <a:pt x="96107" y="4771"/>
                  <a:pt x="85145" y="-4635"/>
                  <a:pt x="78567" y="2600"/>
                </a:cubicBezTo>
                <a:lnTo>
                  <a:pt x="48991" y="35487"/>
                </a:lnTo>
                <a:lnTo>
                  <a:pt x="12684" y="10383"/>
                </a:lnTo>
                <a:cubicBezTo>
                  <a:pt x="5098" y="5144"/>
                  <a:pt x="-4856" y="16610"/>
                  <a:pt x="2687" y="21872"/>
                </a:cubicBezTo>
                <a:lnTo>
                  <a:pt x="38796" y="46844"/>
                </a:lnTo>
                <a:lnTo>
                  <a:pt x="18275" y="69865"/>
                </a:lnTo>
                <a:cubicBezTo>
                  <a:pt x="11697" y="77122"/>
                  <a:pt x="22660" y="86527"/>
                  <a:pt x="29237" y="79292"/>
                </a:cubicBezTo>
                <a:lnTo>
                  <a:pt x="50942" y="55175"/>
                </a:lnTo>
                <a:lnTo>
                  <a:pt x="82601" y="77100"/>
                </a:lnTo>
                <a:cubicBezTo>
                  <a:pt x="90078" y="82296"/>
                  <a:pt x="100119" y="70829"/>
                  <a:pt x="92489" y="6548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08" name="CustomShape 10"/>
          <p:cNvSpPr/>
          <p:nvPr/>
        </p:nvSpPr>
        <p:spPr>
          <a:xfrm rot="5069400">
            <a:off x="7853400" y="3741840"/>
            <a:ext cx="813960" cy="1022040"/>
          </a:xfrm>
          <a:custGeom>
            <a:avLst/>
            <a:gdLst/>
            <a:ahLst/>
            <a:cxnLst/>
            <a:rect l="l" t="t" r="r" b="b"/>
            <a:pathLst>
              <a:path w="385904" h="484587">
                <a:moveTo>
                  <a:pt x="316148" y="219239"/>
                </a:moveTo>
                <a:cubicBezTo>
                  <a:pt x="261491" y="116194"/>
                  <a:pt x="157744" y="32311"/>
                  <a:pt x="38101" y="26786"/>
                </a:cubicBezTo>
                <a:cubicBezTo>
                  <a:pt x="47463" y="22510"/>
                  <a:pt x="56935" y="18432"/>
                  <a:pt x="66471" y="14530"/>
                </a:cubicBezTo>
                <a:cubicBezTo>
                  <a:pt x="75241" y="10978"/>
                  <a:pt x="71273" y="-3010"/>
                  <a:pt x="62086" y="586"/>
                </a:cubicBezTo>
                <a:cubicBezTo>
                  <a:pt x="42552" y="8566"/>
                  <a:pt x="23390" y="17336"/>
                  <a:pt x="4578" y="26895"/>
                </a:cubicBezTo>
                <a:cubicBezTo>
                  <a:pt x="-2854" y="30645"/>
                  <a:pt x="-508" y="42440"/>
                  <a:pt x="6398" y="41585"/>
                </a:cubicBezTo>
                <a:cubicBezTo>
                  <a:pt x="7473" y="41870"/>
                  <a:pt x="8591" y="41957"/>
                  <a:pt x="9709" y="41826"/>
                </a:cubicBezTo>
                <a:cubicBezTo>
                  <a:pt x="22162" y="48710"/>
                  <a:pt x="33190" y="57875"/>
                  <a:pt x="42267" y="68837"/>
                </a:cubicBezTo>
                <a:cubicBezTo>
                  <a:pt x="48231" y="76094"/>
                  <a:pt x="60618" y="67368"/>
                  <a:pt x="54786" y="60265"/>
                </a:cubicBezTo>
                <a:cubicBezTo>
                  <a:pt x="49217" y="53468"/>
                  <a:pt x="42990" y="47241"/>
                  <a:pt x="36216" y="41650"/>
                </a:cubicBezTo>
                <a:cubicBezTo>
                  <a:pt x="257544" y="58730"/>
                  <a:pt x="357411" y="281133"/>
                  <a:pt x="371135" y="478147"/>
                </a:cubicBezTo>
                <a:cubicBezTo>
                  <a:pt x="372034" y="487859"/>
                  <a:pt x="386723" y="485952"/>
                  <a:pt x="385869" y="476678"/>
                </a:cubicBezTo>
                <a:cubicBezTo>
                  <a:pt x="377756" y="387730"/>
                  <a:pt x="358704" y="298409"/>
                  <a:pt x="316148" y="219239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09" name="CustomShape 11"/>
          <p:cNvSpPr/>
          <p:nvPr/>
        </p:nvSpPr>
        <p:spPr>
          <a:xfrm rot="5400000">
            <a:off x="305640" y="304200"/>
            <a:ext cx="745920" cy="775440"/>
          </a:xfrm>
          <a:custGeom>
            <a:avLst/>
            <a:gdLst/>
            <a:ahLst/>
            <a:cxnLst/>
            <a:rect l="l" t="t" r="r" b="b"/>
            <a:pathLst>
              <a:path w="353675" h="367635">
                <a:moveTo>
                  <a:pt x="349850" y="316408"/>
                </a:moveTo>
                <a:cubicBezTo>
                  <a:pt x="344216" y="307967"/>
                  <a:pt x="337265" y="300140"/>
                  <a:pt x="331061" y="292094"/>
                </a:cubicBezTo>
                <a:cubicBezTo>
                  <a:pt x="325295" y="284639"/>
                  <a:pt x="312907" y="293387"/>
                  <a:pt x="318542" y="300688"/>
                </a:cubicBezTo>
                <a:cubicBezTo>
                  <a:pt x="320142" y="302661"/>
                  <a:pt x="330951" y="317022"/>
                  <a:pt x="332574" y="318447"/>
                </a:cubicBezTo>
                <a:cubicBezTo>
                  <a:pt x="270198" y="313689"/>
                  <a:pt x="197781" y="305292"/>
                  <a:pt x="142554" y="274598"/>
                </a:cubicBezTo>
                <a:cubicBezTo>
                  <a:pt x="87348" y="239760"/>
                  <a:pt x="52202" y="175937"/>
                  <a:pt x="31747" y="115404"/>
                </a:cubicBezTo>
                <a:cubicBezTo>
                  <a:pt x="20542" y="80171"/>
                  <a:pt x="14804" y="43432"/>
                  <a:pt x="14733" y="6461"/>
                </a:cubicBezTo>
                <a:cubicBezTo>
                  <a:pt x="14733" y="-3318"/>
                  <a:pt x="-44" y="-1323"/>
                  <a:pt x="0" y="7930"/>
                </a:cubicBezTo>
                <a:cubicBezTo>
                  <a:pt x="1184" y="107971"/>
                  <a:pt x="41065" y="213209"/>
                  <a:pt x="119862" y="277470"/>
                </a:cubicBezTo>
                <a:cubicBezTo>
                  <a:pt x="177501" y="318403"/>
                  <a:pt x="263467" y="328116"/>
                  <a:pt x="332705" y="333158"/>
                </a:cubicBezTo>
                <a:cubicBezTo>
                  <a:pt x="322510" y="340196"/>
                  <a:pt x="316437" y="346182"/>
                  <a:pt x="307470" y="353702"/>
                </a:cubicBezTo>
                <a:cubicBezTo>
                  <a:pt x="300301" y="359863"/>
                  <a:pt x="307821" y="372250"/>
                  <a:pt x="315275" y="365848"/>
                </a:cubicBezTo>
                <a:lnTo>
                  <a:pt x="340028" y="344647"/>
                </a:lnTo>
                <a:cubicBezTo>
                  <a:pt x="350048" y="337171"/>
                  <a:pt x="359037" y="328927"/>
                  <a:pt x="349850" y="316408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10" name="PlaceHolder 1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Clique para editar o formato do texto do título</a:t>
            </a:r>
          </a:p>
        </p:txBody>
      </p:sp>
      <p:sp>
        <p:nvSpPr>
          <p:cNvPr id="411" name="PlaceHolder 1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Clique para editar o formato do texto da estrutura de tópicos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2.º nível da estrutura de tópicos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3.º nível da estrutura de tópicos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pt-BR" sz="1400" b="0" strike="noStrike" spc="-1">
                <a:solidFill>
                  <a:srgbClr val="000000"/>
                </a:solidFill>
                <a:latin typeface="Arial"/>
              </a:rPr>
              <a:t>4.º nível da estrutura de tópicos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5.º nível da estrutura de tópicos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6.º nível da estrutura de tópicos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pt-BR" sz="2000" b="0" strike="noStrike" spc="-1">
                <a:solidFill>
                  <a:srgbClr val="000000"/>
                </a:solidFill>
                <a:latin typeface="Arial"/>
              </a:rPr>
              <a:t>7.º nível da estrutura de tópico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1.jpg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.jp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3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3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3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1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9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9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8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85.xml"/><Relationship Id="rId5" Type="http://schemas.openxmlformats.org/officeDocument/2006/relationships/image" Target="../media/image1.jpg"/><Relationship Id="rId4" Type="http://schemas.openxmlformats.org/officeDocument/2006/relationships/image" Target="../media/image23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.xml"/><Relationship Id="rId4" Type="http://schemas.openxmlformats.org/officeDocument/2006/relationships/image" Target="../media/image24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8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85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.jp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121.xml"/><Relationship Id="rId1" Type="http://schemas.openxmlformats.org/officeDocument/2006/relationships/tags" Target="../tags/tag5.xml"/><Relationship Id="rId4" Type="http://schemas.openxmlformats.org/officeDocument/2006/relationships/image" Target="../media/image27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1.xml"/><Relationship Id="rId4" Type="http://schemas.openxmlformats.org/officeDocument/2006/relationships/image" Target="../media/image1.jp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slideLayout" Target="../slideLayouts/slideLayout121.xml"/><Relationship Id="rId1" Type="http://schemas.openxmlformats.org/officeDocument/2006/relationships/tags" Target="../tags/tag6.xml"/><Relationship Id="rId4" Type="http://schemas.openxmlformats.org/officeDocument/2006/relationships/image" Target="../media/image1.jp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121.xml"/><Relationship Id="rId1" Type="http://schemas.openxmlformats.org/officeDocument/2006/relationships/tags" Target="../tags/tag1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1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slideLayout" Target="../slideLayouts/slideLayout111.xml"/><Relationship Id="rId1" Type="http://schemas.openxmlformats.org/officeDocument/2006/relationships/tags" Target="../tags/tag12.xml"/><Relationship Id="rId4" Type="http://schemas.openxmlformats.org/officeDocument/2006/relationships/image" Target="../media/image1.jp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111.xml"/><Relationship Id="rId1" Type="http://schemas.openxmlformats.org/officeDocument/2006/relationships/tags" Target="../tags/tag13.xml"/><Relationship Id="rId4" Type="http://schemas.openxmlformats.org/officeDocument/2006/relationships/image" Target="../media/image1.jp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slideLayout" Target="../slideLayouts/slideLayout111.xml"/><Relationship Id="rId1" Type="http://schemas.openxmlformats.org/officeDocument/2006/relationships/tags" Target="../tags/tag15.xml"/><Relationship Id="rId4" Type="http://schemas.openxmlformats.org/officeDocument/2006/relationships/image" Target="../media/image1.jp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121.xml"/><Relationship Id="rId1" Type="http://schemas.openxmlformats.org/officeDocument/2006/relationships/tags" Target="../tags/tag1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1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5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jpg"/><Relationship Id="rId4" Type="http://schemas.openxmlformats.org/officeDocument/2006/relationships/image" Target="../media/image36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37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5" name="TextShape 1"/>
          <p:cNvSpPr txBox="1"/>
          <p:nvPr/>
        </p:nvSpPr>
        <p:spPr>
          <a:xfrm>
            <a:off x="935640" y="412920"/>
            <a:ext cx="7516800" cy="16801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2800" b="1" strike="noStrike" spc="-1">
                <a:solidFill>
                  <a:srgbClr val="2B3547"/>
                </a:solidFill>
                <a:latin typeface="Amasis MT Pro Black"/>
                <a:ea typeface="Amatic SC"/>
              </a:rPr>
              <a:t>Fraternidade e educação</a:t>
            </a:r>
            <a:endParaRPr lang="pt-BR" sz="28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2BC8CB2F-3CCC-41F0-AC5E-E7D9328E21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0301" y="1339031"/>
            <a:ext cx="4556760" cy="31546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1BD73EC9-CE9F-4742-B706-5925429AB14D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10</a:t>
            </a:fld>
            <a:endParaRPr lang="pt-BR" sz="1500" b="0" strike="noStrike" spc="-1">
              <a:latin typeface="Times New Roman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7A1B89EA-797D-4F2D-AF84-FF64CCE911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5360" y="2207790"/>
            <a:ext cx="3208443" cy="222123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92" name="TextShape 1"/>
          <p:cNvSpPr txBox="1"/>
          <p:nvPr/>
        </p:nvSpPr>
        <p:spPr>
          <a:xfrm>
            <a:off x="1341120" y="714480"/>
            <a:ext cx="5356860" cy="2769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just">
              <a:lnSpc>
                <a:spcPct val="100000"/>
              </a:lnSpc>
              <a:spcAft>
                <a:spcPts val="1001"/>
              </a:spcAft>
            </a:pPr>
            <a:r>
              <a:rPr lang="pt-BR" sz="2800" b="1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Educar não é um ato isolado!</a:t>
            </a:r>
            <a:endParaRPr lang="pt-BR" sz="28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00000"/>
              </a:lnSpc>
              <a:spcAft>
                <a:spcPts val="1001"/>
              </a:spcAft>
            </a:pPr>
            <a:r>
              <a:rPr lang="pt-BR" sz="2800" b="0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Refletir as motivações mais profundas e os fundamentos do ato de educar.</a:t>
            </a:r>
            <a:endParaRPr lang="pt-BR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TextShape 1"/>
          <p:cNvSpPr txBox="1"/>
          <p:nvPr/>
        </p:nvSpPr>
        <p:spPr>
          <a:xfrm>
            <a:off x="861060" y="1186920"/>
            <a:ext cx="6568260" cy="2769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marL="457200" indent="-406080" algn="just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2800" b="1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“A educação será ineficaz e os seus esforços estéreis se não se preocupar também por difundir um novo modelo relativo ao ser humano, à vida, à sociedade e à relação com a natureza.”</a:t>
            </a:r>
            <a:endParaRPr lang="pt-BR" sz="2800" b="0" strike="noStrike" spc="-1" dirty="0">
              <a:solidFill>
                <a:srgbClr val="000000"/>
              </a:solidFill>
              <a:latin typeface="Arial"/>
            </a:endParaRPr>
          </a:p>
          <a:p>
            <a:pPr marL="457200" indent="-406080" algn="ctr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1200" b="0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                                                                                 (Papa Francisco – LS 215) </a:t>
            </a:r>
            <a:endParaRPr lang="pt-BR" sz="12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5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E5A92CC0-5D3B-44FE-B006-A38F4686205D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11</a:t>
            </a:fld>
            <a:endParaRPr lang="pt-BR" sz="1500" b="0" strike="noStrike" spc="-1">
              <a:latin typeface="Times New Roman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8C9E9095-08F7-477A-B820-5DA835840B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1" y="3099251"/>
            <a:ext cx="2006231" cy="138892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" name="TextShape 1"/>
          <p:cNvSpPr txBox="1"/>
          <p:nvPr/>
        </p:nvSpPr>
        <p:spPr>
          <a:xfrm>
            <a:off x="891540" y="1186920"/>
            <a:ext cx="7040880" cy="2769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marL="457200" indent="-406080" algn="just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2800" b="0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Educar é construir a verdadeira fraternidade alicerçada na justiça e na paz. </a:t>
            </a:r>
            <a:r>
              <a:rPr lang="pt-BR" sz="2800" b="1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Que ninguém seja excluído de um caminho integral </a:t>
            </a:r>
            <a:r>
              <a:rPr lang="pt-BR" sz="2800" b="0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que humanize, promova  vida e estabeleça relações de proximidade, conversão, </a:t>
            </a:r>
            <a:endParaRPr lang="pt-BR" sz="2800" b="0" strike="noStrike" spc="-1" dirty="0">
              <a:solidFill>
                <a:srgbClr val="000000"/>
              </a:solidFill>
              <a:latin typeface="Arial"/>
            </a:endParaRPr>
          </a:p>
          <a:p>
            <a:pPr marL="457200" indent="-406080" algn="just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2800" b="0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justiça e paz. </a:t>
            </a:r>
            <a:endParaRPr lang="pt-BR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7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EF121CBC-03AA-455B-BEB3-7A3437A16FE1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12</a:t>
            </a:fld>
            <a:endParaRPr lang="pt-BR" sz="1500" b="0" strike="noStrike" spc="-1">
              <a:latin typeface="Times New Roman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AC98246C-F707-443F-91D7-FCC48F8DC3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7688" y="3225301"/>
            <a:ext cx="2120472" cy="146801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" name="TextShape 1"/>
          <p:cNvSpPr txBox="1"/>
          <p:nvPr/>
        </p:nvSpPr>
        <p:spPr>
          <a:xfrm>
            <a:off x="1051560" y="450180"/>
            <a:ext cx="7040880" cy="38062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marL="457200" indent="-406080" algn="just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2300" b="1" strike="noStrike" spc="-1" dirty="0">
                <a:latin typeface="Nunito SemiBold"/>
                <a:ea typeface="Nunito SemiBold"/>
              </a:rPr>
              <a:t>Educar na fé: </a:t>
            </a:r>
          </a:p>
          <a:p>
            <a:pPr marL="457200" indent="-406080" algn="just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2100" b="1" strike="noStrike" spc="-1" dirty="0">
                <a:latin typeface="Nunito SemiBold"/>
                <a:ea typeface="Nunito SemiBold"/>
              </a:rPr>
              <a:t>“A catequese é chamada a oferecer encontros para ajudar a família a cumprir sua missão como primeira educadora da fé, crescer nas relações de amizade e de solidariedade.</a:t>
            </a:r>
            <a:r>
              <a:rPr lang="pt-BR" sz="2100" strike="noStrike" spc="-1" dirty="0">
                <a:latin typeface="Nunito SemiBold"/>
                <a:ea typeface="Nunito SemiBold"/>
              </a:rPr>
              <a:t> </a:t>
            </a:r>
            <a:r>
              <a:rPr lang="pt-BR" sz="2100" b="0" strike="noStrike" spc="-1" dirty="0">
                <a:latin typeface="Nunito SemiBold"/>
                <a:ea typeface="Nunito SemiBold"/>
              </a:rPr>
              <a:t>Evidentemente, </a:t>
            </a:r>
            <a:r>
              <a:rPr lang="pt-BR" sz="2100" b="1" strike="noStrike" spc="-1" dirty="0">
                <a:solidFill>
                  <a:srgbClr val="FF0000"/>
                </a:solidFill>
                <a:latin typeface="Nunito SemiBold"/>
                <a:ea typeface="Nunito SemiBold"/>
              </a:rPr>
              <a:t>não se trata de receitas prontas, mas de ouvir as dúvidas das pessoas, partindo sempre da realidade dos nossos interlocutores</a:t>
            </a:r>
            <a:r>
              <a:rPr lang="pt-BR" sz="2100" b="0" strike="noStrike" spc="-1" dirty="0">
                <a:solidFill>
                  <a:srgbClr val="FF0000"/>
                </a:solidFill>
                <a:latin typeface="Nunito SemiBold"/>
                <a:ea typeface="Nunito SemiBold"/>
              </a:rPr>
              <a:t>.</a:t>
            </a:r>
            <a:r>
              <a:rPr lang="pt-BR" sz="2100" b="0" strike="noStrike" spc="-1" dirty="0">
                <a:latin typeface="Nunito SemiBold"/>
                <a:ea typeface="Nunito SemiBold"/>
              </a:rPr>
              <a:t> Isso exige catequistas competentes para exercer este ministério. </a:t>
            </a:r>
            <a:r>
              <a:rPr lang="pt-BR" sz="2100" spc="-1" dirty="0">
                <a:latin typeface="Arial"/>
                <a:ea typeface="Nunito SemiBold"/>
              </a:rPr>
              <a:t> </a:t>
            </a:r>
            <a:r>
              <a:rPr lang="pt-BR" sz="1200" spc="-1" dirty="0">
                <a:latin typeface="Arial"/>
                <a:ea typeface="Nunito SemiBold"/>
              </a:rPr>
              <a:t>(TB 200)</a:t>
            </a:r>
            <a:endParaRPr lang="pt-BR" sz="1200" b="0" strike="noStrike" spc="-1" dirty="0">
              <a:latin typeface="Arial"/>
            </a:endParaRPr>
          </a:p>
        </p:txBody>
      </p:sp>
      <p:sp>
        <p:nvSpPr>
          <p:cNvPr id="597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EF121CBC-03AA-455B-BEB3-7A3437A16FE1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13</a:t>
            </a:fld>
            <a:endParaRPr lang="pt-BR" sz="1500" b="0" strike="noStrike" spc="-1">
              <a:latin typeface="Times New Roman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AC98246C-F707-443F-91D7-FCC48F8DC3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1800" y="3403315"/>
            <a:ext cx="1896360" cy="131286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6018088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8" name="TextShape 1"/>
          <p:cNvSpPr txBox="1"/>
          <p:nvPr/>
        </p:nvSpPr>
        <p:spPr>
          <a:xfrm>
            <a:off x="883440" y="683640"/>
            <a:ext cx="6426000" cy="39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3400" b="1" strike="noStrike" spc="-1">
                <a:solidFill>
                  <a:srgbClr val="2B3547"/>
                </a:solidFill>
                <a:latin typeface="Amatic SC"/>
                <a:ea typeface="Amatic SC"/>
              </a:rPr>
              <a:t>Nosso Caminho</a:t>
            </a:r>
            <a:endParaRPr lang="pt-BR" sz="3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9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C6B2F085-BD89-465C-8081-265BE9422168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14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600" name="CustomShape 3"/>
          <p:cNvSpPr/>
          <p:nvPr/>
        </p:nvSpPr>
        <p:spPr>
          <a:xfrm>
            <a:off x="883440" y="1342080"/>
            <a:ext cx="3395520" cy="148392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rIns="1371600" bIns="9144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pt-BR" sz="2000" b="1" strike="noStrike" spc="-1">
                <a:solidFill>
                  <a:srgbClr val="000000"/>
                </a:solidFill>
                <a:latin typeface="Nino"/>
                <a:ea typeface="Arial"/>
              </a:rPr>
              <a:t>Jo 8,1-11</a:t>
            </a:r>
            <a:endParaRPr lang="pt-BR" sz="2000" b="0" strike="noStrike" spc="-1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pt-BR" sz="2000" b="0" strike="noStrike" spc="-1">
                <a:solidFill>
                  <a:srgbClr val="000000"/>
                </a:solidFill>
                <a:latin typeface="Nino"/>
                <a:ea typeface="Arial"/>
              </a:rPr>
              <a:t>“Quem não tiver pecado atire a primeira pedra.”</a:t>
            </a:r>
            <a:endParaRPr lang="pt-BR" sz="2000" b="0" strike="noStrike" spc="-1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2000" b="0" strike="noStrike" spc="-1">
              <a:latin typeface="Arial"/>
            </a:endParaRPr>
          </a:p>
        </p:txBody>
      </p:sp>
      <p:sp>
        <p:nvSpPr>
          <p:cNvPr id="601" name="CustomShape 4"/>
          <p:cNvSpPr/>
          <p:nvPr/>
        </p:nvSpPr>
        <p:spPr>
          <a:xfrm>
            <a:off x="4419720" y="1342080"/>
            <a:ext cx="3395520" cy="148392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371600" tIns="91440" bIns="9144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pt-BR" sz="1800" b="1" strike="noStrike" spc="-1">
                <a:solidFill>
                  <a:srgbClr val="000000"/>
                </a:solidFill>
                <a:latin typeface="Nino"/>
                <a:ea typeface="Arial"/>
              </a:rPr>
              <a:t>Jesus Mestre e Educador</a:t>
            </a:r>
            <a:endParaRPr lang="pt-BR" sz="1800" b="0" strike="noStrike" spc="-1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pt-BR" sz="1800" b="1" strike="noStrike" spc="-1">
                <a:solidFill>
                  <a:srgbClr val="000000"/>
                </a:solidFill>
                <a:latin typeface="Nino"/>
                <a:ea typeface="Arial"/>
              </a:rPr>
              <a:t>Educar na fé </a:t>
            </a:r>
            <a:endParaRPr lang="pt-BR" sz="1800" b="0" strike="noStrike" spc="-1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pt-BR" sz="1800" b="1" strike="noStrike" spc="-1">
                <a:solidFill>
                  <a:srgbClr val="000000"/>
                </a:solidFill>
                <a:latin typeface="Nino"/>
                <a:ea typeface="Arial"/>
              </a:rPr>
              <a:t>Pacto Educativo Global</a:t>
            </a:r>
            <a:endParaRPr lang="pt-BR" sz="1800" b="0" strike="noStrike" spc="-1">
              <a:latin typeface="Arial"/>
            </a:endParaRPr>
          </a:p>
        </p:txBody>
      </p:sp>
      <p:sp>
        <p:nvSpPr>
          <p:cNvPr id="602" name="CustomShape 5"/>
          <p:cNvSpPr/>
          <p:nvPr/>
        </p:nvSpPr>
        <p:spPr>
          <a:xfrm>
            <a:off x="883440" y="2989440"/>
            <a:ext cx="3395520" cy="148392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rIns="1371600" bIns="91440" anchor="b">
            <a:noAutofit/>
          </a:bodyPr>
          <a:lstStyle/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r>
              <a:rPr lang="pt-BR" sz="1700" b="1" strike="noStrike" spc="-1" dirty="0">
                <a:solidFill>
                  <a:srgbClr val="000000"/>
                </a:solidFill>
                <a:latin typeface="Nino"/>
                <a:ea typeface="Arial"/>
              </a:rPr>
              <a:t>O que a pandemia da Covid 19 revela de nossa cultura no que diz respeito a educação?</a:t>
            </a:r>
            <a:endParaRPr lang="pt-BR" sz="1700" b="0" strike="noStrike" spc="-1" dirty="0">
              <a:latin typeface="Arial"/>
            </a:endParaRPr>
          </a:p>
          <a:p>
            <a:pPr>
              <a:lnSpc>
                <a:spcPct val="100000"/>
              </a:lnSpc>
            </a:pPr>
            <a:endParaRPr lang="pt-BR" sz="1700" b="0" strike="noStrike" spc="-1" dirty="0">
              <a:latin typeface="Arial"/>
            </a:endParaRPr>
          </a:p>
        </p:txBody>
      </p:sp>
      <p:sp>
        <p:nvSpPr>
          <p:cNvPr id="603" name="CustomShape 6"/>
          <p:cNvSpPr/>
          <p:nvPr/>
        </p:nvSpPr>
        <p:spPr>
          <a:xfrm>
            <a:off x="4419720" y="2989440"/>
            <a:ext cx="3395520" cy="148392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371600" tIns="91440" bIns="91440" anchor="b">
            <a:noAutofit/>
          </a:bodyPr>
          <a:lstStyle/>
          <a:p>
            <a:pPr algn="ctr">
              <a:lnSpc>
                <a:spcPct val="100000"/>
              </a:lnSpc>
            </a:pPr>
            <a:r>
              <a:rPr lang="pt-BR" sz="2000" b="1" strike="noStrike" spc="-1">
                <a:solidFill>
                  <a:srgbClr val="000000"/>
                </a:solidFill>
                <a:latin typeface="Nino"/>
                <a:ea typeface="Arial"/>
              </a:rPr>
              <a:t>Pensando o Brasil </a:t>
            </a:r>
            <a:endParaRPr lang="pt-BR" sz="2000" b="0" strike="noStrike" spc="-1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pt-BR" sz="2000" b="1" strike="noStrike" spc="-1">
                <a:solidFill>
                  <a:srgbClr val="000000"/>
                </a:solidFill>
                <a:latin typeface="Nino"/>
                <a:ea typeface="Arial"/>
              </a:rPr>
              <a:t>Iniciar processos </a:t>
            </a:r>
            <a:endParaRPr lang="pt-BR" sz="2000" b="0" strike="noStrike" spc="-1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pt-BR" sz="2000" b="1" strike="noStrike" spc="-1">
                <a:solidFill>
                  <a:srgbClr val="000000"/>
                </a:solidFill>
                <a:latin typeface="Nino"/>
                <a:ea typeface="Arial"/>
              </a:rPr>
              <a:t>Promover iniciativas</a:t>
            </a:r>
            <a:endParaRPr lang="pt-BR" sz="2000" b="0" strike="noStrike" spc="-1">
              <a:latin typeface="Arial"/>
            </a:endParaRPr>
          </a:p>
        </p:txBody>
      </p:sp>
      <p:sp>
        <p:nvSpPr>
          <p:cNvPr id="604" name="CustomShape 7"/>
          <p:cNvSpPr/>
          <p:nvPr/>
        </p:nvSpPr>
        <p:spPr>
          <a:xfrm>
            <a:off x="3137040" y="1693440"/>
            <a:ext cx="2263680" cy="2263680"/>
          </a:xfrm>
          <a:prstGeom prst="pie">
            <a:avLst>
              <a:gd name="adj1" fmla="val 10789554"/>
              <a:gd name="adj2" fmla="val 16200000"/>
            </a:avLst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605" name="CustomShape 8"/>
          <p:cNvSpPr/>
          <p:nvPr/>
        </p:nvSpPr>
        <p:spPr>
          <a:xfrm rot="5400000">
            <a:off x="3300480" y="1693080"/>
            <a:ext cx="2263680" cy="2263680"/>
          </a:xfrm>
          <a:prstGeom prst="pie">
            <a:avLst>
              <a:gd name="adj1" fmla="val 10788866"/>
              <a:gd name="adj2" fmla="val 1620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606" name="CustomShape 9"/>
          <p:cNvSpPr/>
          <p:nvPr/>
        </p:nvSpPr>
        <p:spPr>
          <a:xfrm rot="10800000">
            <a:off x="3300480" y="1857960"/>
            <a:ext cx="2263680" cy="2263680"/>
          </a:xfrm>
          <a:prstGeom prst="pie">
            <a:avLst>
              <a:gd name="adj1" fmla="val 10788866"/>
              <a:gd name="adj2" fmla="val 1620000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607" name="CustomShape 10"/>
          <p:cNvSpPr/>
          <p:nvPr/>
        </p:nvSpPr>
        <p:spPr>
          <a:xfrm rot="16200000">
            <a:off x="3137040" y="1858320"/>
            <a:ext cx="2263680" cy="2263680"/>
          </a:xfrm>
          <a:prstGeom prst="pie">
            <a:avLst>
              <a:gd name="adj1" fmla="val 10788866"/>
              <a:gd name="adj2" fmla="val 16200000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608" name="CustomShape 11"/>
          <p:cNvSpPr/>
          <p:nvPr/>
        </p:nvSpPr>
        <p:spPr>
          <a:xfrm>
            <a:off x="3323880" y="3094560"/>
            <a:ext cx="887400" cy="457200"/>
          </a:xfrm>
          <a:custGeom>
            <a:avLst/>
            <a:gdLst/>
            <a:ahLst/>
            <a:cxnLst/>
            <a:rect l="0" t="0" r="r" b="b"/>
            <a:pathLst>
              <a:path w="2467" h="1272">
                <a:moveTo>
                  <a:pt x="0" y="0"/>
                </a:moveTo>
                <a:lnTo>
                  <a:pt x="2466" y="0"/>
                </a:lnTo>
                <a:moveTo>
                  <a:pt x="0" y="1271"/>
                </a:moveTo>
                <a:lnTo>
                  <a:pt x="2466" y="1271"/>
                </a:lnTo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Ctr="1">
            <a:prstTxWarp prst="textPlain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r>
              <a:rPr lang="pt-BR" sz="1400" b="1" strike="noStrike" spc="-1">
                <a:solidFill>
                  <a:srgbClr val="2B3547"/>
                </a:solidFill>
                <a:latin typeface="Amatic SC"/>
                <a:ea typeface="Arial"/>
              </a:rPr>
              <a:t>Escutar</a:t>
            </a:r>
            <a:endParaRPr lang="pt-BR" sz="1400" b="0" strike="noStrike" spc="-1">
              <a:latin typeface="Arial"/>
            </a:endParaRPr>
          </a:p>
        </p:txBody>
      </p:sp>
      <p:sp>
        <p:nvSpPr>
          <p:cNvPr id="609" name="CustomShape 12"/>
          <p:cNvSpPr/>
          <p:nvPr/>
        </p:nvSpPr>
        <p:spPr>
          <a:xfrm>
            <a:off x="4494600" y="2264760"/>
            <a:ext cx="906120" cy="372600"/>
          </a:xfrm>
          <a:custGeom>
            <a:avLst/>
            <a:gdLst/>
            <a:ahLst/>
            <a:cxnLst/>
            <a:rect l="0" t="0" r="r" b="b"/>
            <a:pathLst>
              <a:path w="2519" h="1037">
                <a:moveTo>
                  <a:pt x="0" y="0"/>
                </a:moveTo>
                <a:lnTo>
                  <a:pt x="2518" y="0"/>
                </a:lnTo>
                <a:moveTo>
                  <a:pt x="0" y="1036"/>
                </a:moveTo>
                <a:lnTo>
                  <a:pt x="2518" y="1036"/>
                </a:lnTo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Ctr="1">
            <a:prstTxWarp prst="textPlain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r>
              <a:rPr lang="pt-BR" sz="1400" b="1" strike="noStrike" spc="-1" dirty="0">
                <a:solidFill>
                  <a:srgbClr val="2B3547"/>
                </a:solidFill>
                <a:latin typeface="Amatic SC"/>
                <a:ea typeface="Arial"/>
              </a:rPr>
              <a:t>Discernir</a:t>
            </a:r>
            <a:endParaRPr lang="pt-BR" sz="1400" b="0" strike="noStrike" spc="-1" dirty="0">
              <a:latin typeface="Arial"/>
            </a:endParaRPr>
          </a:p>
        </p:txBody>
      </p:sp>
      <p:sp>
        <p:nvSpPr>
          <p:cNvPr id="610" name="CustomShape 13"/>
          <p:cNvSpPr/>
          <p:nvPr/>
        </p:nvSpPr>
        <p:spPr>
          <a:xfrm>
            <a:off x="3137040" y="2264760"/>
            <a:ext cx="1119240" cy="358560"/>
          </a:xfrm>
          <a:custGeom>
            <a:avLst/>
            <a:gdLst/>
            <a:ahLst/>
            <a:cxnLst/>
            <a:rect l="0" t="0" r="r" b="b"/>
            <a:pathLst>
              <a:path w="3111" h="997">
                <a:moveTo>
                  <a:pt x="0" y="0"/>
                </a:moveTo>
                <a:lnTo>
                  <a:pt x="3110" y="0"/>
                </a:lnTo>
                <a:moveTo>
                  <a:pt x="0" y="996"/>
                </a:moveTo>
                <a:lnTo>
                  <a:pt x="3110" y="996"/>
                </a:lnTo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Ctr="1">
            <a:prstTxWarp prst="textPlain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r>
              <a:rPr lang="pt-BR" sz="1400" b="1" strike="noStrike" spc="-1">
                <a:solidFill>
                  <a:srgbClr val="2B3547"/>
                </a:solidFill>
                <a:latin typeface="Amatic SC"/>
                <a:ea typeface="Arial"/>
              </a:rPr>
              <a:t>Palavra </a:t>
            </a:r>
            <a:endParaRPr lang="pt-BR" sz="1400" b="0" strike="noStrike" spc="-1">
              <a:latin typeface="Arial"/>
            </a:endParaRPr>
          </a:p>
        </p:txBody>
      </p:sp>
      <p:sp>
        <p:nvSpPr>
          <p:cNvPr id="611" name="CustomShape 14"/>
          <p:cNvSpPr/>
          <p:nvPr/>
        </p:nvSpPr>
        <p:spPr>
          <a:xfrm>
            <a:off x="4494600" y="3177720"/>
            <a:ext cx="743760" cy="441720"/>
          </a:xfrm>
          <a:custGeom>
            <a:avLst/>
            <a:gdLst/>
            <a:ahLst/>
            <a:cxnLst/>
            <a:rect l="0" t="0" r="r" b="b"/>
            <a:pathLst>
              <a:path w="2068" h="1229">
                <a:moveTo>
                  <a:pt x="0" y="0"/>
                </a:moveTo>
                <a:lnTo>
                  <a:pt x="2067" y="0"/>
                </a:lnTo>
                <a:moveTo>
                  <a:pt x="0" y="1228"/>
                </a:moveTo>
                <a:lnTo>
                  <a:pt x="2067" y="1228"/>
                </a:lnTo>
              </a:path>
            </a:pathLst>
          </a:custGeom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Ctr="1">
            <a:prstTxWarp prst="textPlain">
              <a:avLst/>
            </a:prstTxWarp>
            <a:noAutofit/>
          </a:bodyPr>
          <a:lstStyle/>
          <a:p>
            <a:pPr algn="ctr">
              <a:lnSpc>
                <a:spcPct val="100000"/>
              </a:lnSpc>
            </a:pPr>
            <a:r>
              <a:rPr lang="pt-BR" sz="1400" b="1" strike="noStrike" spc="-1">
                <a:solidFill>
                  <a:srgbClr val="2B3547"/>
                </a:solidFill>
                <a:latin typeface="Amatic SC"/>
                <a:ea typeface="Arial"/>
              </a:rPr>
              <a:t>Agir</a:t>
            </a:r>
            <a:endParaRPr lang="pt-BR" sz="1400" b="0" strike="noStrike" spc="-1">
              <a:latin typeface="Arial"/>
            </a:endParaRP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ED19C58D-87E8-4245-8906-97038C3A44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1200" y="3731400"/>
            <a:ext cx="990600" cy="6858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7" dur="500" fill="hold"/>
                                        <p:tgtEl>
                                          <p:spTgt spid="6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8" dur="500" fill="hold"/>
                                        <p:tgtEl>
                                          <p:spTgt spid="6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13" dur="500" fill="hold"/>
                                        <p:tgtEl>
                                          <p:spTgt spid="6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14" dur="500" fill="hold"/>
                                        <p:tgtEl>
                                          <p:spTgt spid="6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19" dur="500" fill="hold"/>
                                        <p:tgtEl>
                                          <p:spTgt spid="6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20" dur="500" fill="hold"/>
                                        <p:tgtEl>
                                          <p:spTgt spid="6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25" dur="500" fill="hold"/>
                                        <p:tgtEl>
                                          <p:spTgt spid="6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26" dur="500" fill="hold"/>
                                        <p:tgtEl>
                                          <p:spTgt spid="6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2" name="TextShape 1"/>
          <p:cNvSpPr txBox="1"/>
          <p:nvPr/>
        </p:nvSpPr>
        <p:spPr>
          <a:xfrm>
            <a:off x="1871640" y="1731600"/>
            <a:ext cx="3686760" cy="16801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9600" b="1" strike="noStrike" spc="-1">
                <a:solidFill>
                  <a:srgbClr val="2B3547"/>
                </a:solidFill>
                <a:latin typeface="Amatic SC"/>
                <a:ea typeface="Amatic SC"/>
              </a:rPr>
              <a:t>Escutar </a:t>
            </a:r>
            <a:endParaRPr lang="pt-BR" sz="96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EE75DF52-7C4F-4F6F-A126-E47D25DE028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9" t="5463" r="38107" b="-1334"/>
          <a:stretch/>
        </p:blipFill>
        <p:spPr>
          <a:xfrm>
            <a:off x="111516" y="115087"/>
            <a:ext cx="1967162" cy="218615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" name="TextShape 1"/>
          <p:cNvSpPr txBox="1"/>
          <p:nvPr/>
        </p:nvSpPr>
        <p:spPr>
          <a:xfrm>
            <a:off x="883440" y="683640"/>
            <a:ext cx="6426000" cy="39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3400" b="1" strike="noStrike" spc="-1">
                <a:solidFill>
                  <a:srgbClr val="2B3547"/>
                </a:solidFill>
                <a:latin typeface="Amatic SC"/>
                <a:ea typeface="Amatic SC"/>
              </a:rPr>
              <a:t>Método </a:t>
            </a:r>
            <a:endParaRPr lang="pt-BR" sz="3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5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F1FFD7D5-D69B-4083-93DD-869684128D29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16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636" name="CustomShape 3"/>
          <p:cNvSpPr/>
          <p:nvPr/>
        </p:nvSpPr>
        <p:spPr>
          <a:xfrm>
            <a:off x="7812720" y="3691440"/>
            <a:ext cx="906120" cy="903600"/>
          </a:xfrm>
          <a:custGeom>
            <a:avLst/>
            <a:gdLst/>
            <a:ahLst/>
            <a:cxnLst/>
            <a:rect l="l" t="t" r="r" b="b"/>
            <a:pathLst>
              <a:path w="17958" h="17909">
                <a:moveTo>
                  <a:pt x="11972" y="390"/>
                </a:moveTo>
                <a:lnTo>
                  <a:pt x="12069" y="414"/>
                </a:lnTo>
                <a:lnTo>
                  <a:pt x="12166" y="463"/>
                </a:lnTo>
                <a:lnTo>
                  <a:pt x="12288" y="511"/>
                </a:lnTo>
                <a:lnTo>
                  <a:pt x="12483" y="682"/>
                </a:lnTo>
                <a:lnTo>
                  <a:pt x="12653" y="852"/>
                </a:lnTo>
                <a:lnTo>
                  <a:pt x="12823" y="1047"/>
                </a:lnTo>
                <a:lnTo>
                  <a:pt x="13091" y="1387"/>
                </a:lnTo>
                <a:lnTo>
                  <a:pt x="13456" y="1801"/>
                </a:lnTo>
                <a:lnTo>
                  <a:pt x="13821" y="2166"/>
                </a:lnTo>
                <a:lnTo>
                  <a:pt x="14235" y="2507"/>
                </a:lnTo>
                <a:lnTo>
                  <a:pt x="14648" y="2847"/>
                </a:lnTo>
                <a:lnTo>
                  <a:pt x="14843" y="3042"/>
                </a:lnTo>
                <a:lnTo>
                  <a:pt x="15038" y="3237"/>
                </a:lnTo>
                <a:lnTo>
                  <a:pt x="15403" y="3626"/>
                </a:lnTo>
                <a:lnTo>
                  <a:pt x="15743" y="4040"/>
                </a:lnTo>
                <a:lnTo>
                  <a:pt x="16108" y="4453"/>
                </a:lnTo>
                <a:lnTo>
                  <a:pt x="16449" y="4818"/>
                </a:lnTo>
                <a:lnTo>
                  <a:pt x="16619" y="4988"/>
                </a:lnTo>
                <a:lnTo>
                  <a:pt x="16814" y="5159"/>
                </a:lnTo>
                <a:lnTo>
                  <a:pt x="17130" y="5426"/>
                </a:lnTo>
                <a:lnTo>
                  <a:pt x="17276" y="5572"/>
                </a:lnTo>
                <a:lnTo>
                  <a:pt x="17398" y="5743"/>
                </a:lnTo>
                <a:lnTo>
                  <a:pt x="17422" y="5791"/>
                </a:lnTo>
                <a:lnTo>
                  <a:pt x="17422" y="5791"/>
                </a:lnTo>
                <a:lnTo>
                  <a:pt x="16887" y="5499"/>
                </a:lnTo>
                <a:lnTo>
                  <a:pt x="16449" y="5280"/>
                </a:lnTo>
                <a:lnTo>
                  <a:pt x="16230" y="5159"/>
                </a:lnTo>
                <a:lnTo>
                  <a:pt x="15987" y="5061"/>
                </a:lnTo>
                <a:lnTo>
                  <a:pt x="15962" y="5086"/>
                </a:lnTo>
                <a:lnTo>
                  <a:pt x="15962" y="5110"/>
                </a:lnTo>
                <a:lnTo>
                  <a:pt x="15987" y="5232"/>
                </a:lnTo>
                <a:lnTo>
                  <a:pt x="16035" y="5329"/>
                </a:lnTo>
                <a:lnTo>
                  <a:pt x="16181" y="5499"/>
                </a:lnTo>
                <a:lnTo>
                  <a:pt x="16352" y="5645"/>
                </a:lnTo>
                <a:lnTo>
                  <a:pt x="16571" y="5791"/>
                </a:lnTo>
                <a:lnTo>
                  <a:pt x="17033" y="6010"/>
                </a:lnTo>
                <a:lnTo>
                  <a:pt x="17252" y="6132"/>
                </a:lnTo>
                <a:lnTo>
                  <a:pt x="17446" y="6229"/>
                </a:lnTo>
                <a:lnTo>
                  <a:pt x="17349" y="6351"/>
                </a:lnTo>
                <a:lnTo>
                  <a:pt x="17227" y="6448"/>
                </a:lnTo>
                <a:lnTo>
                  <a:pt x="17154" y="6375"/>
                </a:lnTo>
                <a:lnTo>
                  <a:pt x="17082" y="6302"/>
                </a:lnTo>
                <a:lnTo>
                  <a:pt x="16887" y="6205"/>
                </a:lnTo>
                <a:lnTo>
                  <a:pt x="16498" y="6010"/>
                </a:lnTo>
                <a:lnTo>
                  <a:pt x="16400" y="5937"/>
                </a:lnTo>
                <a:lnTo>
                  <a:pt x="16303" y="5840"/>
                </a:lnTo>
                <a:lnTo>
                  <a:pt x="16108" y="5645"/>
                </a:lnTo>
                <a:lnTo>
                  <a:pt x="16011" y="5548"/>
                </a:lnTo>
                <a:lnTo>
                  <a:pt x="15914" y="5451"/>
                </a:lnTo>
                <a:lnTo>
                  <a:pt x="15816" y="5402"/>
                </a:lnTo>
                <a:lnTo>
                  <a:pt x="15695" y="5353"/>
                </a:lnTo>
                <a:lnTo>
                  <a:pt x="15670" y="5353"/>
                </a:lnTo>
                <a:lnTo>
                  <a:pt x="15646" y="5378"/>
                </a:lnTo>
                <a:lnTo>
                  <a:pt x="15622" y="5426"/>
                </a:lnTo>
                <a:lnTo>
                  <a:pt x="15622" y="5548"/>
                </a:lnTo>
                <a:lnTo>
                  <a:pt x="15670" y="5645"/>
                </a:lnTo>
                <a:lnTo>
                  <a:pt x="15792" y="5864"/>
                </a:lnTo>
                <a:lnTo>
                  <a:pt x="15962" y="6083"/>
                </a:lnTo>
                <a:lnTo>
                  <a:pt x="16133" y="6229"/>
                </a:lnTo>
                <a:lnTo>
                  <a:pt x="16303" y="6351"/>
                </a:lnTo>
                <a:lnTo>
                  <a:pt x="16473" y="6448"/>
                </a:lnTo>
                <a:lnTo>
                  <a:pt x="16668" y="6521"/>
                </a:lnTo>
                <a:lnTo>
                  <a:pt x="16838" y="6643"/>
                </a:lnTo>
                <a:lnTo>
                  <a:pt x="16619" y="6692"/>
                </a:lnTo>
                <a:lnTo>
                  <a:pt x="16400" y="6716"/>
                </a:lnTo>
                <a:lnTo>
                  <a:pt x="16376" y="6692"/>
                </a:lnTo>
                <a:lnTo>
                  <a:pt x="16327" y="6643"/>
                </a:lnTo>
                <a:lnTo>
                  <a:pt x="16181" y="6570"/>
                </a:lnTo>
                <a:lnTo>
                  <a:pt x="16108" y="6546"/>
                </a:lnTo>
                <a:lnTo>
                  <a:pt x="16035" y="6497"/>
                </a:lnTo>
                <a:lnTo>
                  <a:pt x="15889" y="6375"/>
                </a:lnTo>
                <a:lnTo>
                  <a:pt x="15768" y="6229"/>
                </a:lnTo>
                <a:lnTo>
                  <a:pt x="15670" y="6108"/>
                </a:lnTo>
                <a:lnTo>
                  <a:pt x="15549" y="6010"/>
                </a:lnTo>
                <a:lnTo>
                  <a:pt x="15403" y="5962"/>
                </a:lnTo>
                <a:lnTo>
                  <a:pt x="15330" y="5937"/>
                </a:lnTo>
                <a:lnTo>
                  <a:pt x="15257" y="5962"/>
                </a:lnTo>
                <a:lnTo>
                  <a:pt x="15232" y="5962"/>
                </a:lnTo>
                <a:lnTo>
                  <a:pt x="15232" y="6010"/>
                </a:lnTo>
                <a:lnTo>
                  <a:pt x="15281" y="6181"/>
                </a:lnTo>
                <a:lnTo>
                  <a:pt x="15354" y="6327"/>
                </a:lnTo>
                <a:lnTo>
                  <a:pt x="15573" y="6619"/>
                </a:lnTo>
                <a:lnTo>
                  <a:pt x="15622" y="6692"/>
                </a:lnTo>
                <a:lnTo>
                  <a:pt x="15354" y="6643"/>
                </a:lnTo>
                <a:lnTo>
                  <a:pt x="15086" y="6570"/>
                </a:lnTo>
                <a:lnTo>
                  <a:pt x="15086" y="6546"/>
                </a:lnTo>
                <a:lnTo>
                  <a:pt x="14843" y="6205"/>
                </a:lnTo>
                <a:lnTo>
                  <a:pt x="14575" y="5889"/>
                </a:lnTo>
                <a:lnTo>
                  <a:pt x="14283" y="5572"/>
                </a:lnTo>
                <a:lnTo>
                  <a:pt x="13991" y="5256"/>
                </a:lnTo>
                <a:lnTo>
                  <a:pt x="13359" y="4672"/>
                </a:lnTo>
                <a:lnTo>
                  <a:pt x="12726" y="4137"/>
                </a:lnTo>
                <a:lnTo>
                  <a:pt x="11996" y="3456"/>
                </a:lnTo>
                <a:lnTo>
                  <a:pt x="11607" y="3139"/>
                </a:lnTo>
                <a:lnTo>
                  <a:pt x="11217" y="2823"/>
                </a:lnTo>
                <a:lnTo>
                  <a:pt x="11169" y="2823"/>
                </a:lnTo>
                <a:lnTo>
                  <a:pt x="11144" y="2750"/>
                </a:lnTo>
                <a:lnTo>
                  <a:pt x="11071" y="2628"/>
                </a:lnTo>
                <a:lnTo>
                  <a:pt x="11023" y="2482"/>
                </a:lnTo>
                <a:lnTo>
                  <a:pt x="10974" y="2336"/>
                </a:lnTo>
                <a:lnTo>
                  <a:pt x="10950" y="2166"/>
                </a:lnTo>
                <a:lnTo>
                  <a:pt x="10925" y="1850"/>
                </a:lnTo>
                <a:lnTo>
                  <a:pt x="10974" y="1509"/>
                </a:lnTo>
                <a:lnTo>
                  <a:pt x="11071" y="1193"/>
                </a:lnTo>
                <a:lnTo>
                  <a:pt x="11144" y="1022"/>
                </a:lnTo>
                <a:lnTo>
                  <a:pt x="11217" y="901"/>
                </a:lnTo>
                <a:lnTo>
                  <a:pt x="11315" y="755"/>
                </a:lnTo>
                <a:lnTo>
                  <a:pt x="11412" y="633"/>
                </a:lnTo>
                <a:lnTo>
                  <a:pt x="11534" y="536"/>
                </a:lnTo>
                <a:lnTo>
                  <a:pt x="11655" y="463"/>
                </a:lnTo>
                <a:lnTo>
                  <a:pt x="11753" y="414"/>
                </a:lnTo>
                <a:lnTo>
                  <a:pt x="11850" y="390"/>
                </a:lnTo>
                <a:close/>
                <a:moveTo>
                  <a:pt x="10098" y="4745"/>
                </a:moveTo>
                <a:lnTo>
                  <a:pt x="9976" y="4794"/>
                </a:lnTo>
                <a:lnTo>
                  <a:pt x="9879" y="4867"/>
                </a:lnTo>
                <a:lnTo>
                  <a:pt x="9684" y="5037"/>
                </a:lnTo>
                <a:lnTo>
                  <a:pt x="9149" y="5572"/>
                </a:lnTo>
                <a:lnTo>
                  <a:pt x="8687" y="6035"/>
                </a:lnTo>
                <a:lnTo>
                  <a:pt x="8468" y="6302"/>
                </a:lnTo>
                <a:lnTo>
                  <a:pt x="8273" y="6570"/>
                </a:lnTo>
                <a:lnTo>
                  <a:pt x="8249" y="6643"/>
                </a:lnTo>
                <a:lnTo>
                  <a:pt x="8273" y="6716"/>
                </a:lnTo>
                <a:lnTo>
                  <a:pt x="8346" y="6789"/>
                </a:lnTo>
                <a:lnTo>
                  <a:pt x="8419" y="6789"/>
                </a:lnTo>
                <a:lnTo>
                  <a:pt x="8565" y="6765"/>
                </a:lnTo>
                <a:lnTo>
                  <a:pt x="8687" y="6716"/>
                </a:lnTo>
                <a:lnTo>
                  <a:pt x="8833" y="6619"/>
                </a:lnTo>
                <a:lnTo>
                  <a:pt x="8979" y="6521"/>
                </a:lnTo>
                <a:lnTo>
                  <a:pt x="9222" y="6278"/>
                </a:lnTo>
                <a:lnTo>
                  <a:pt x="9417" y="6059"/>
                </a:lnTo>
                <a:lnTo>
                  <a:pt x="9976" y="5524"/>
                </a:lnTo>
                <a:lnTo>
                  <a:pt x="10171" y="5353"/>
                </a:lnTo>
                <a:lnTo>
                  <a:pt x="10268" y="5280"/>
                </a:lnTo>
                <a:lnTo>
                  <a:pt x="10341" y="5207"/>
                </a:lnTo>
                <a:lnTo>
                  <a:pt x="10414" y="5110"/>
                </a:lnTo>
                <a:lnTo>
                  <a:pt x="10414" y="5037"/>
                </a:lnTo>
                <a:lnTo>
                  <a:pt x="10414" y="4964"/>
                </a:lnTo>
                <a:lnTo>
                  <a:pt x="10390" y="4891"/>
                </a:lnTo>
                <a:lnTo>
                  <a:pt x="10341" y="4818"/>
                </a:lnTo>
                <a:lnTo>
                  <a:pt x="10268" y="4770"/>
                </a:lnTo>
                <a:lnTo>
                  <a:pt x="10195" y="4745"/>
                </a:lnTo>
                <a:close/>
                <a:moveTo>
                  <a:pt x="11047" y="3018"/>
                </a:moveTo>
                <a:lnTo>
                  <a:pt x="11193" y="3188"/>
                </a:lnTo>
                <a:lnTo>
                  <a:pt x="11339" y="3358"/>
                </a:lnTo>
                <a:lnTo>
                  <a:pt x="11680" y="3699"/>
                </a:lnTo>
                <a:lnTo>
                  <a:pt x="12385" y="4307"/>
                </a:lnTo>
                <a:lnTo>
                  <a:pt x="12994" y="4867"/>
                </a:lnTo>
                <a:lnTo>
                  <a:pt x="13602" y="5451"/>
                </a:lnTo>
                <a:lnTo>
                  <a:pt x="14162" y="6059"/>
                </a:lnTo>
                <a:lnTo>
                  <a:pt x="14429" y="6375"/>
                </a:lnTo>
                <a:lnTo>
                  <a:pt x="14697" y="6716"/>
                </a:lnTo>
                <a:lnTo>
                  <a:pt x="14624" y="6789"/>
                </a:lnTo>
                <a:lnTo>
                  <a:pt x="14308" y="6619"/>
                </a:lnTo>
                <a:lnTo>
                  <a:pt x="14137" y="6521"/>
                </a:lnTo>
                <a:lnTo>
                  <a:pt x="13943" y="6424"/>
                </a:lnTo>
                <a:lnTo>
                  <a:pt x="13821" y="6400"/>
                </a:lnTo>
                <a:lnTo>
                  <a:pt x="13748" y="6375"/>
                </a:lnTo>
                <a:lnTo>
                  <a:pt x="13699" y="6327"/>
                </a:lnTo>
                <a:lnTo>
                  <a:pt x="13675" y="6327"/>
                </a:lnTo>
                <a:lnTo>
                  <a:pt x="13651" y="6351"/>
                </a:lnTo>
                <a:lnTo>
                  <a:pt x="13651" y="6375"/>
                </a:lnTo>
                <a:lnTo>
                  <a:pt x="13724" y="6497"/>
                </a:lnTo>
                <a:lnTo>
                  <a:pt x="13772" y="6594"/>
                </a:lnTo>
                <a:lnTo>
                  <a:pt x="13918" y="6765"/>
                </a:lnTo>
                <a:lnTo>
                  <a:pt x="14089" y="6911"/>
                </a:lnTo>
                <a:lnTo>
                  <a:pt x="14405" y="7105"/>
                </a:lnTo>
                <a:lnTo>
                  <a:pt x="14332" y="7203"/>
                </a:lnTo>
                <a:lnTo>
                  <a:pt x="14283" y="7251"/>
                </a:lnTo>
                <a:lnTo>
                  <a:pt x="14235" y="7227"/>
                </a:lnTo>
                <a:lnTo>
                  <a:pt x="13967" y="7105"/>
                </a:lnTo>
                <a:lnTo>
                  <a:pt x="13699" y="6984"/>
                </a:lnTo>
                <a:lnTo>
                  <a:pt x="13602" y="6911"/>
                </a:lnTo>
                <a:lnTo>
                  <a:pt x="13480" y="6862"/>
                </a:lnTo>
                <a:lnTo>
                  <a:pt x="13359" y="6838"/>
                </a:lnTo>
                <a:lnTo>
                  <a:pt x="13237" y="6862"/>
                </a:lnTo>
                <a:lnTo>
                  <a:pt x="13188" y="6886"/>
                </a:lnTo>
                <a:lnTo>
                  <a:pt x="13188" y="6911"/>
                </a:lnTo>
                <a:lnTo>
                  <a:pt x="13164" y="6959"/>
                </a:lnTo>
                <a:lnTo>
                  <a:pt x="13188" y="6984"/>
                </a:lnTo>
                <a:lnTo>
                  <a:pt x="13261" y="7105"/>
                </a:lnTo>
                <a:lnTo>
                  <a:pt x="13383" y="7178"/>
                </a:lnTo>
                <a:lnTo>
                  <a:pt x="13626" y="7349"/>
                </a:lnTo>
                <a:lnTo>
                  <a:pt x="13821" y="7446"/>
                </a:lnTo>
                <a:lnTo>
                  <a:pt x="14016" y="7543"/>
                </a:lnTo>
                <a:lnTo>
                  <a:pt x="13699" y="7835"/>
                </a:lnTo>
                <a:lnTo>
                  <a:pt x="13480" y="7738"/>
                </a:lnTo>
                <a:lnTo>
                  <a:pt x="13237" y="7616"/>
                </a:lnTo>
                <a:lnTo>
                  <a:pt x="13018" y="7568"/>
                </a:lnTo>
                <a:lnTo>
                  <a:pt x="12896" y="7543"/>
                </a:lnTo>
                <a:lnTo>
                  <a:pt x="12775" y="7543"/>
                </a:lnTo>
                <a:lnTo>
                  <a:pt x="12702" y="7568"/>
                </a:lnTo>
                <a:lnTo>
                  <a:pt x="12653" y="7641"/>
                </a:lnTo>
                <a:lnTo>
                  <a:pt x="12653" y="7714"/>
                </a:lnTo>
                <a:lnTo>
                  <a:pt x="12653" y="7762"/>
                </a:lnTo>
                <a:lnTo>
                  <a:pt x="12702" y="7787"/>
                </a:lnTo>
                <a:lnTo>
                  <a:pt x="13042" y="7981"/>
                </a:lnTo>
                <a:lnTo>
                  <a:pt x="13383" y="8176"/>
                </a:lnTo>
                <a:lnTo>
                  <a:pt x="13164" y="8419"/>
                </a:lnTo>
                <a:lnTo>
                  <a:pt x="12969" y="8346"/>
                </a:lnTo>
                <a:lnTo>
                  <a:pt x="12775" y="8273"/>
                </a:lnTo>
                <a:lnTo>
                  <a:pt x="12580" y="8152"/>
                </a:lnTo>
                <a:lnTo>
                  <a:pt x="12483" y="8103"/>
                </a:lnTo>
                <a:lnTo>
                  <a:pt x="12385" y="8054"/>
                </a:lnTo>
                <a:lnTo>
                  <a:pt x="12337" y="8054"/>
                </a:lnTo>
                <a:lnTo>
                  <a:pt x="12288" y="8079"/>
                </a:lnTo>
                <a:lnTo>
                  <a:pt x="12264" y="8127"/>
                </a:lnTo>
                <a:lnTo>
                  <a:pt x="12264" y="8176"/>
                </a:lnTo>
                <a:lnTo>
                  <a:pt x="12312" y="8273"/>
                </a:lnTo>
                <a:lnTo>
                  <a:pt x="12410" y="8371"/>
                </a:lnTo>
                <a:lnTo>
                  <a:pt x="12507" y="8468"/>
                </a:lnTo>
                <a:lnTo>
                  <a:pt x="12604" y="8541"/>
                </a:lnTo>
                <a:lnTo>
                  <a:pt x="12750" y="8614"/>
                </a:lnTo>
                <a:lnTo>
                  <a:pt x="12921" y="8687"/>
                </a:lnTo>
                <a:lnTo>
                  <a:pt x="12726" y="8930"/>
                </a:lnTo>
                <a:lnTo>
                  <a:pt x="12531" y="8833"/>
                </a:lnTo>
                <a:lnTo>
                  <a:pt x="12361" y="8784"/>
                </a:lnTo>
                <a:lnTo>
                  <a:pt x="12142" y="8638"/>
                </a:lnTo>
                <a:lnTo>
                  <a:pt x="11923" y="8517"/>
                </a:lnTo>
                <a:lnTo>
                  <a:pt x="11899" y="8517"/>
                </a:lnTo>
                <a:lnTo>
                  <a:pt x="11850" y="8565"/>
                </a:lnTo>
                <a:lnTo>
                  <a:pt x="11826" y="8590"/>
                </a:lnTo>
                <a:lnTo>
                  <a:pt x="11826" y="8687"/>
                </a:lnTo>
                <a:lnTo>
                  <a:pt x="11850" y="8809"/>
                </a:lnTo>
                <a:lnTo>
                  <a:pt x="11947" y="8906"/>
                </a:lnTo>
                <a:lnTo>
                  <a:pt x="12045" y="9003"/>
                </a:lnTo>
                <a:lnTo>
                  <a:pt x="12166" y="9101"/>
                </a:lnTo>
                <a:lnTo>
                  <a:pt x="12458" y="9247"/>
                </a:lnTo>
                <a:lnTo>
                  <a:pt x="12166" y="9539"/>
                </a:lnTo>
                <a:lnTo>
                  <a:pt x="11947" y="9441"/>
                </a:lnTo>
                <a:lnTo>
                  <a:pt x="11753" y="9320"/>
                </a:lnTo>
                <a:lnTo>
                  <a:pt x="11582" y="9198"/>
                </a:lnTo>
                <a:lnTo>
                  <a:pt x="11461" y="9174"/>
                </a:lnTo>
                <a:lnTo>
                  <a:pt x="11339" y="9174"/>
                </a:lnTo>
                <a:lnTo>
                  <a:pt x="11315" y="9198"/>
                </a:lnTo>
                <a:lnTo>
                  <a:pt x="11315" y="9271"/>
                </a:lnTo>
                <a:lnTo>
                  <a:pt x="11363" y="9368"/>
                </a:lnTo>
                <a:lnTo>
                  <a:pt x="11436" y="9466"/>
                </a:lnTo>
                <a:lnTo>
                  <a:pt x="11582" y="9612"/>
                </a:lnTo>
                <a:lnTo>
                  <a:pt x="11728" y="9709"/>
                </a:lnTo>
                <a:lnTo>
                  <a:pt x="11850" y="9806"/>
                </a:lnTo>
                <a:lnTo>
                  <a:pt x="11777" y="9879"/>
                </a:lnTo>
                <a:lnTo>
                  <a:pt x="11728" y="9928"/>
                </a:lnTo>
                <a:lnTo>
                  <a:pt x="11704" y="9977"/>
                </a:lnTo>
                <a:lnTo>
                  <a:pt x="11680" y="10050"/>
                </a:lnTo>
                <a:lnTo>
                  <a:pt x="11680" y="10098"/>
                </a:lnTo>
                <a:lnTo>
                  <a:pt x="11655" y="10196"/>
                </a:lnTo>
                <a:lnTo>
                  <a:pt x="11680" y="10244"/>
                </a:lnTo>
                <a:lnTo>
                  <a:pt x="11704" y="10317"/>
                </a:lnTo>
                <a:lnTo>
                  <a:pt x="11777" y="10488"/>
                </a:lnTo>
                <a:lnTo>
                  <a:pt x="11874" y="10682"/>
                </a:lnTo>
                <a:lnTo>
                  <a:pt x="11680" y="10561"/>
                </a:lnTo>
                <a:lnTo>
                  <a:pt x="11509" y="10463"/>
                </a:lnTo>
                <a:lnTo>
                  <a:pt x="11412" y="10439"/>
                </a:lnTo>
                <a:lnTo>
                  <a:pt x="11217" y="10439"/>
                </a:lnTo>
                <a:lnTo>
                  <a:pt x="11144" y="10463"/>
                </a:lnTo>
                <a:lnTo>
                  <a:pt x="11096" y="10488"/>
                </a:lnTo>
                <a:lnTo>
                  <a:pt x="11096" y="10512"/>
                </a:lnTo>
                <a:lnTo>
                  <a:pt x="11096" y="10561"/>
                </a:lnTo>
                <a:lnTo>
                  <a:pt x="11096" y="10585"/>
                </a:lnTo>
                <a:lnTo>
                  <a:pt x="11193" y="10658"/>
                </a:lnTo>
                <a:lnTo>
                  <a:pt x="11315" y="10731"/>
                </a:lnTo>
                <a:lnTo>
                  <a:pt x="11509" y="10877"/>
                </a:lnTo>
                <a:lnTo>
                  <a:pt x="11753" y="11072"/>
                </a:lnTo>
                <a:lnTo>
                  <a:pt x="11996" y="11266"/>
                </a:lnTo>
                <a:lnTo>
                  <a:pt x="12020" y="11266"/>
                </a:lnTo>
                <a:lnTo>
                  <a:pt x="12093" y="11631"/>
                </a:lnTo>
                <a:lnTo>
                  <a:pt x="12118" y="11972"/>
                </a:lnTo>
                <a:lnTo>
                  <a:pt x="11777" y="11704"/>
                </a:lnTo>
                <a:lnTo>
                  <a:pt x="11461" y="11437"/>
                </a:lnTo>
                <a:lnTo>
                  <a:pt x="11315" y="11339"/>
                </a:lnTo>
                <a:lnTo>
                  <a:pt x="11144" y="11242"/>
                </a:lnTo>
                <a:lnTo>
                  <a:pt x="10974" y="11193"/>
                </a:lnTo>
                <a:lnTo>
                  <a:pt x="10877" y="11169"/>
                </a:lnTo>
                <a:lnTo>
                  <a:pt x="10779" y="11193"/>
                </a:lnTo>
                <a:lnTo>
                  <a:pt x="10755" y="11218"/>
                </a:lnTo>
                <a:lnTo>
                  <a:pt x="10779" y="11242"/>
                </a:lnTo>
                <a:lnTo>
                  <a:pt x="11363" y="11826"/>
                </a:lnTo>
                <a:lnTo>
                  <a:pt x="11509" y="11972"/>
                </a:lnTo>
                <a:lnTo>
                  <a:pt x="11680" y="12142"/>
                </a:lnTo>
                <a:lnTo>
                  <a:pt x="11850" y="12264"/>
                </a:lnTo>
                <a:lnTo>
                  <a:pt x="12069" y="12361"/>
                </a:lnTo>
                <a:lnTo>
                  <a:pt x="12118" y="12361"/>
                </a:lnTo>
                <a:lnTo>
                  <a:pt x="12118" y="12921"/>
                </a:lnTo>
                <a:lnTo>
                  <a:pt x="12093" y="13091"/>
                </a:lnTo>
                <a:lnTo>
                  <a:pt x="11972" y="12969"/>
                </a:lnTo>
                <a:lnTo>
                  <a:pt x="11850" y="12824"/>
                </a:lnTo>
                <a:lnTo>
                  <a:pt x="11655" y="12653"/>
                </a:lnTo>
                <a:lnTo>
                  <a:pt x="11120" y="12167"/>
                </a:lnTo>
                <a:lnTo>
                  <a:pt x="10877" y="11948"/>
                </a:lnTo>
                <a:lnTo>
                  <a:pt x="10731" y="11875"/>
                </a:lnTo>
                <a:lnTo>
                  <a:pt x="10585" y="11826"/>
                </a:lnTo>
                <a:lnTo>
                  <a:pt x="10536" y="11850"/>
                </a:lnTo>
                <a:lnTo>
                  <a:pt x="10512" y="11875"/>
                </a:lnTo>
                <a:lnTo>
                  <a:pt x="10536" y="12021"/>
                </a:lnTo>
                <a:lnTo>
                  <a:pt x="10609" y="12142"/>
                </a:lnTo>
                <a:lnTo>
                  <a:pt x="10682" y="12264"/>
                </a:lnTo>
                <a:lnTo>
                  <a:pt x="10779" y="12386"/>
                </a:lnTo>
                <a:lnTo>
                  <a:pt x="11023" y="12605"/>
                </a:lnTo>
                <a:lnTo>
                  <a:pt x="11217" y="12799"/>
                </a:lnTo>
                <a:lnTo>
                  <a:pt x="11728" y="13286"/>
                </a:lnTo>
                <a:lnTo>
                  <a:pt x="11801" y="13359"/>
                </a:lnTo>
                <a:lnTo>
                  <a:pt x="11874" y="13407"/>
                </a:lnTo>
                <a:lnTo>
                  <a:pt x="12045" y="13407"/>
                </a:lnTo>
                <a:lnTo>
                  <a:pt x="11947" y="13699"/>
                </a:lnTo>
                <a:lnTo>
                  <a:pt x="11899" y="13845"/>
                </a:lnTo>
                <a:lnTo>
                  <a:pt x="11826" y="13991"/>
                </a:lnTo>
                <a:lnTo>
                  <a:pt x="11631" y="13748"/>
                </a:lnTo>
                <a:lnTo>
                  <a:pt x="11412" y="13529"/>
                </a:lnTo>
                <a:lnTo>
                  <a:pt x="11169" y="13334"/>
                </a:lnTo>
                <a:lnTo>
                  <a:pt x="10950" y="13115"/>
                </a:lnTo>
                <a:lnTo>
                  <a:pt x="10536" y="12702"/>
                </a:lnTo>
                <a:lnTo>
                  <a:pt x="10439" y="12629"/>
                </a:lnTo>
                <a:lnTo>
                  <a:pt x="10293" y="12532"/>
                </a:lnTo>
                <a:lnTo>
                  <a:pt x="10171" y="12459"/>
                </a:lnTo>
                <a:lnTo>
                  <a:pt x="10098" y="12361"/>
                </a:lnTo>
                <a:lnTo>
                  <a:pt x="10074" y="12361"/>
                </a:lnTo>
                <a:lnTo>
                  <a:pt x="10049" y="12386"/>
                </a:lnTo>
                <a:lnTo>
                  <a:pt x="10098" y="12532"/>
                </a:lnTo>
                <a:lnTo>
                  <a:pt x="10147" y="12653"/>
                </a:lnTo>
                <a:lnTo>
                  <a:pt x="10293" y="12921"/>
                </a:lnTo>
                <a:lnTo>
                  <a:pt x="10487" y="13140"/>
                </a:lnTo>
                <a:lnTo>
                  <a:pt x="10706" y="13359"/>
                </a:lnTo>
                <a:lnTo>
                  <a:pt x="11169" y="13797"/>
                </a:lnTo>
                <a:lnTo>
                  <a:pt x="11388" y="14016"/>
                </a:lnTo>
                <a:lnTo>
                  <a:pt x="11558" y="14235"/>
                </a:lnTo>
                <a:lnTo>
                  <a:pt x="11412" y="14283"/>
                </a:lnTo>
                <a:lnTo>
                  <a:pt x="11266" y="14283"/>
                </a:lnTo>
                <a:lnTo>
                  <a:pt x="11096" y="14259"/>
                </a:lnTo>
                <a:lnTo>
                  <a:pt x="10925" y="14210"/>
                </a:lnTo>
                <a:lnTo>
                  <a:pt x="10877" y="14162"/>
                </a:lnTo>
                <a:lnTo>
                  <a:pt x="10414" y="13651"/>
                </a:lnTo>
                <a:lnTo>
                  <a:pt x="9903" y="13164"/>
                </a:lnTo>
                <a:lnTo>
                  <a:pt x="9392" y="12678"/>
                </a:lnTo>
                <a:lnTo>
                  <a:pt x="8857" y="12240"/>
                </a:lnTo>
                <a:lnTo>
                  <a:pt x="7811" y="11315"/>
                </a:lnTo>
                <a:lnTo>
                  <a:pt x="7300" y="10828"/>
                </a:lnTo>
                <a:lnTo>
                  <a:pt x="6813" y="10342"/>
                </a:lnTo>
                <a:lnTo>
                  <a:pt x="5913" y="9344"/>
                </a:lnTo>
                <a:lnTo>
                  <a:pt x="5426" y="8857"/>
                </a:lnTo>
                <a:lnTo>
                  <a:pt x="4940" y="8419"/>
                </a:lnTo>
                <a:lnTo>
                  <a:pt x="4429" y="7981"/>
                </a:lnTo>
                <a:lnTo>
                  <a:pt x="3918" y="7568"/>
                </a:lnTo>
                <a:lnTo>
                  <a:pt x="3747" y="7397"/>
                </a:lnTo>
                <a:lnTo>
                  <a:pt x="3577" y="7203"/>
                </a:lnTo>
                <a:lnTo>
                  <a:pt x="3504" y="7130"/>
                </a:lnTo>
                <a:lnTo>
                  <a:pt x="3407" y="7057"/>
                </a:lnTo>
                <a:lnTo>
                  <a:pt x="3309" y="7008"/>
                </a:lnTo>
                <a:lnTo>
                  <a:pt x="3212" y="6984"/>
                </a:lnTo>
                <a:lnTo>
                  <a:pt x="3163" y="6911"/>
                </a:lnTo>
                <a:lnTo>
                  <a:pt x="3139" y="6838"/>
                </a:lnTo>
                <a:lnTo>
                  <a:pt x="3163" y="6740"/>
                </a:lnTo>
                <a:lnTo>
                  <a:pt x="3163" y="6667"/>
                </a:lnTo>
                <a:lnTo>
                  <a:pt x="3236" y="6521"/>
                </a:lnTo>
                <a:lnTo>
                  <a:pt x="3358" y="6375"/>
                </a:lnTo>
                <a:lnTo>
                  <a:pt x="3504" y="6254"/>
                </a:lnTo>
                <a:lnTo>
                  <a:pt x="3650" y="6156"/>
                </a:lnTo>
                <a:lnTo>
                  <a:pt x="3942" y="6010"/>
                </a:lnTo>
                <a:lnTo>
                  <a:pt x="4234" y="5913"/>
                </a:lnTo>
                <a:lnTo>
                  <a:pt x="4526" y="5840"/>
                </a:lnTo>
                <a:lnTo>
                  <a:pt x="4842" y="5767"/>
                </a:lnTo>
                <a:lnTo>
                  <a:pt x="5134" y="5743"/>
                </a:lnTo>
                <a:lnTo>
                  <a:pt x="5499" y="5743"/>
                </a:lnTo>
                <a:lnTo>
                  <a:pt x="5864" y="5767"/>
                </a:lnTo>
                <a:lnTo>
                  <a:pt x="6229" y="5816"/>
                </a:lnTo>
                <a:lnTo>
                  <a:pt x="6594" y="5913"/>
                </a:lnTo>
                <a:lnTo>
                  <a:pt x="6862" y="6010"/>
                </a:lnTo>
                <a:lnTo>
                  <a:pt x="7154" y="6108"/>
                </a:lnTo>
                <a:lnTo>
                  <a:pt x="7446" y="6205"/>
                </a:lnTo>
                <a:lnTo>
                  <a:pt x="7592" y="6254"/>
                </a:lnTo>
                <a:lnTo>
                  <a:pt x="7738" y="6254"/>
                </a:lnTo>
                <a:lnTo>
                  <a:pt x="7787" y="6229"/>
                </a:lnTo>
                <a:lnTo>
                  <a:pt x="7860" y="6181"/>
                </a:lnTo>
                <a:lnTo>
                  <a:pt x="7884" y="6132"/>
                </a:lnTo>
                <a:lnTo>
                  <a:pt x="7884" y="6083"/>
                </a:lnTo>
                <a:lnTo>
                  <a:pt x="8006" y="5962"/>
                </a:lnTo>
                <a:lnTo>
                  <a:pt x="8079" y="5864"/>
                </a:lnTo>
                <a:lnTo>
                  <a:pt x="8346" y="5621"/>
                </a:lnTo>
                <a:lnTo>
                  <a:pt x="8614" y="5402"/>
                </a:lnTo>
                <a:lnTo>
                  <a:pt x="9198" y="4964"/>
                </a:lnTo>
                <a:lnTo>
                  <a:pt x="9490" y="4721"/>
                </a:lnTo>
                <a:lnTo>
                  <a:pt x="9757" y="4453"/>
                </a:lnTo>
                <a:lnTo>
                  <a:pt x="10293" y="3894"/>
                </a:lnTo>
                <a:lnTo>
                  <a:pt x="10706" y="3480"/>
                </a:lnTo>
                <a:lnTo>
                  <a:pt x="10901" y="3261"/>
                </a:lnTo>
                <a:lnTo>
                  <a:pt x="10974" y="3139"/>
                </a:lnTo>
                <a:lnTo>
                  <a:pt x="11047" y="3018"/>
                </a:lnTo>
                <a:close/>
                <a:moveTo>
                  <a:pt x="6327" y="10463"/>
                </a:moveTo>
                <a:lnTo>
                  <a:pt x="6594" y="10780"/>
                </a:lnTo>
                <a:lnTo>
                  <a:pt x="7057" y="11266"/>
                </a:lnTo>
                <a:lnTo>
                  <a:pt x="7543" y="11729"/>
                </a:lnTo>
                <a:lnTo>
                  <a:pt x="6643" y="12580"/>
                </a:lnTo>
                <a:lnTo>
                  <a:pt x="5718" y="13407"/>
                </a:lnTo>
                <a:lnTo>
                  <a:pt x="4794" y="14210"/>
                </a:lnTo>
                <a:lnTo>
                  <a:pt x="3820" y="14989"/>
                </a:lnTo>
                <a:lnTo>
                  <a:pt x="3042" y="15597"/>
                </a:lnTo>
                <a:lnTo>
                  <a:pt x="2263" y="16157"/>
                </a:lnTo>
                <a:lnTo>
                  <a:pt x="1460" y="16717"/>
                </a:lnTo>
                <a:lnTo>
                  <a:pt x="682" y="17301"/>
                </a:lnTo>
                <a:lnTo>
                  <a:pt x="1120" y="16765"/>
                </a:lnTo>
                <a:lnTo>
                  <a:pt x="1533" y="16230"/>
                </a:lnTo>
                <a:lnTo>
                  <a:pt x="1971" y="15646"/>
                </a:lnTo>
                <a:lnTo>
                  <a:pt x="2458" y="15111"/>
                </a:lnTo>
                <a:lnTo>
                  <a:pt x="3431" y="14064"/>
                </a:lnTo>
                <a:lnTo>
                  <a:pt x="4307" y="13018"/>
                </a:lnTo>
                <a:lnTo>
                  <a:pt x="5159" y="11972"/>
                </a:lnTo>
                <a:lnTo>
                  <a:pt x="5524" y="11485"/>
                </a:lnTo>
                <a:lnTo>
                  <a:pt x="5913" y="11023"/>
                </a:lnTo>
                <a:lnTo>
                  <a:pt x="6132" y="10755"/>
                </a:lnTo>
                <a:lnTo>
                  <a:pt x="6229" y="10609"/>
                </a:lnTo>
                <a:lnTo>
                  <a:pt x="6327" y="10463"/>
                </a:lnTo>
                <a:close/>
                <a:moveTo>
                  <a:pt x="11753" y="0"/>
                </a:moveTo>
                <a:lnTo>
                  <a:pt x="11558" y="49"/>
                </a:lnTo>
                <a:lnTo>
                  <a:pt x="11363" y="122"/>
                </a:lnTo>
                <a:lnTo>
                  <a:pt x="11217" y="219"/>
                </a:lnTo>
                <a:lnTo>
                  <a:pt x="11096" y="341"/>
                </a:lnTo>
                <a:lnTo>
                  <a:pt x="10974" y="463"/>
                </a:lnTo>
                <a:lnTo>
                  <a:pt x="10877" y="609"/>
                </a:lnTo>
                <a:lnTo>
                  <a:pt x="10779" y="779"/>
                </a:lnTo>
                <a:lnTo>
                  <a:pt x="10706" y="949"/>
                </a:lnTo>
                <a:lnTo>
                  <a:pt x="10633" y="1120"/>
                </a:lnTo>
                <a:lnTo>
                  <a:pt x="10585" y="1314"/>
                </a:lnTo>
                <a:lnTo>
                  <a:pt x="10536" y="1509"/>
                </a:lnTo>
                <a:lnTo>
                  <a:pt x="10512" y="1704"/>
                </a:lnTo>
                <a:lnTo>
                  <a:pt x="10512" y="1898"/>
                </a:lnTo>
                <a:lnTo>
                  <a:pt x="10512" y="2093"/>
                </a:lnTo>
                <a:lnTo>
                  <a:pt x="10536" y="2263"/>
                </a:lnTo>
                <a:lnTo>
                  <a:pt x="10585" y="2458"/>
                </a:lnTo>
                <a:lnTo>
                  <a:pt x="10633" y="2604"/>
                </a:lnTo>
                <a:lnTo>
                  <a:pt x="10731" y="2774"/>
                </a:lnTo>
                <a:lnTo>
                  <a:pt x="10609" y="2823"/>
                </a:lnTo>
                <a:lnTo>
                  <a:pt x="10487" y="2920"/>
                </a:lnTo>
                <a:lnTo>
                  <a:pt x="10293" y="3115"/>
                </a:lnTo>
                <a:lnTo>
                  <a:pt x="9928" y="3553"/>
                </a:lnTo>
                <a:lnTo>
                  <a:pt x="9417" y="4113"/>
                </a:lnTo>
                <a:lnTo>
                  <a:pt x="9149" y="4356"/>
                </a:lnTo>
                <a:lnTo>
                  <a:pt x="8857" y="4624"/>
                </a:lnTo>
                <a:lnTo>
                  <a:pt x="8298" y="5061"/>
                </a:lnTo>
                <a:lnTo>
                  <a:pt x="8030" y="5305"/>
                </a:lnTo>
                <a:lnTo>
                  <a:pt x="7787" y="5572"/>
                </a:lnTo>
                <a:lnTo>
                  <a:pt x="7714" y="5670"/>
                </a:lnTo>
                <a:lnTo>
                  <a:pt x="7616" y="5791"/>
                </a:lnTo>
                <a:lnTo>
                  <a:pt x="7470" y="5718"/>
                </a:lnTo>
                <a:lnTo>
                  <a:pt x="7300" y="5645"/>
                </a:lnTo>
                <a:lnTo>
                  <a:pt x="6935" y="5524"/>
                </a:lnTo>
                <a:lnTo>
                  <a:pt x="6570" y="5451"/>
                </a:lnTo>
                <a:lnTo>
                  <a:pt x="6254" y="5402"/>
                </a:lnTo>
                <a:lnTo>
                  <a:pt x="5767" y="5329"/>
                </a:lnTo>
                <a:lnTo>
                  <a:pt x="5280" y="5305"/>
                </a:lnTo>
                <a:lnTo>
                  <a:pt x="4794" y="5353"/>
                </a:lnTo>
                <a:lnTo>
                  <a:pt x="4307" y="5451"/>
                </a:lnTo>
                <a:lnTo>
                  <a:pt x="3942" y="5548"/>
                </a:lnTo>
                <a:lnTo>
                  <a:pt x="3601" y="5718"/>
                </a:lnTo>
                <a:lnTo>
                  <a:pt x="3431" y="5791"/>
                </a:lnTo>
                <a:lnTo>
                  <a:pt x="3261" y="5913"/>
                </a:lnTo>
                <a:lnTo>
                  <a:pt x="3139" y="6035"/>
                </a:lnTo>
                <a:lnTo>
                  <a:pt x="3017" y="6181"/>
                </a:lnTo>
                <a:lnTo>
                  <a:pt x="2871" y="6448"/>
                </a:lnTo>
                <a:lnTo>
                  <a:pt x="2823" y="6570"/>
                </a:lnTo>
                <a:lnTo>
                  <a:pt x="2798" y="6716"/>
                </a:lnTo>
                <a:lnTo>
                  <a:pt x="2798" y="6862"/>
                </a:lnTo>
                <a:lnTo>
                  <a:pt x="2823" y="7008"/>
                </a:lnTo>
                <a:lnTo>
                  <a:pt x="2871" y="7130"/>
                </a:lnTo>
                <a:lnTo>
                  <a:pt x="2969" y="7227"/>
                </a:lnTo>
                <a:lnTo>
                  <a:pt x="3042" y="7251"/>
                </a:lnTo>
                <a:lnTo>
                  <a:pt x="3115" y="7251"/>
                </a:lnTo>
                <a:lnTo>
                  <a:pt x="3285" y="7470"/>
                </a:lnTo>
                <a:lnTo>
                  <a:pt x="3455" y="7689"/>
                </a:lnTo>
                <a:lnTo>
                  <a:pt x="3650" y="7908"/>
                </a:lnTo>
                <a:lnTo>
                  <a:pt x="3869" y="8103"/>
                </a:lnTo>
                <a:lnTo>
                  <a:pt x="4307" y="8468"/>
                </a:lnTo>
                <a:lnTo>
                  <a:pt x="4769" y="8833"/>
                </a:lnTo>
                <a:lnTo>
                  <a:pt x="5086" y="9125"/>
                </a:lnTo>
                <a:lnTo>
                  <a:pt x="5402" y="9466"/>
                </a:lnTo>
                <a:lnTo>
                  <a:pt x="6010" y="10123"/>
                </a:lnTo>
                <a:lnTo>
                  <a:pt x="5962" y="10196"/>
                </a:lnTo>
                <a:lnTo>
                  <a:pt x="5864" y="10342"/>
                </a:lnTo>
                <a:lnTo>
                  <a:pt x="5767" y="10488"/>
                </a:lnTo>
                <a:lnTo>
                  <a:pt x="5499" y="10780"/>
                </a:lnTo>
                <a:lnTo>
                  <a:pt x="5110" y="11291"/>
                </a:lnTo>
                <a:lnTo>
                  <a:pt x="4721" y="11777"/>
                </a:lnTo>
                <a:lnTo>
                  <a:pt x="3820" y="12921"/>
                </a:lnTo>
                <a:lnTo>
                  <a:pt x="2871" y="14016"/>
                </a:lnTo>
                <a:lnTo>
                  <a:pt x="1995" y="14989"/>
                </a:lnTo>
                <a:lnTo>
                  <a:pt x="1582" y="15500"/>
                </a:lnTo>
                <a:lnTo>
                  <a:pt x="1168" y="16011"/>
                </a:lnTo>
                <a:lnTo>
                  <a:pt x="779" y="16571"/>
                </a:lnTo>
                <a:lnTo>
                  <a:pt x="584" y="16838"/>
                </a:lnTo>
                <a:lnTo>
                  <a:pt x="365" y="17106"/>
                </a:lnTo>
                <a:lnTo>
                  <a:pt x="244" y="17276"/>
                </a:lnTo>
                <a:lnTo>
                  <a:pt x="122" y="17422"/>
                </a:lnTo>
                <a:lnTo>
                  <a:pt x="49" y="17593"/>
                </a:lnTo>
                <a:lnTo>
                  <a:pt x="0" y="17787"/>
                </a:lnTo>
                <a:lnTo>
                  <a:pt x="0" y="17860"/>
                </a:lnTo>
                <a:lnTo>
                  <a:pt x="73" y="17909"/>
                </a:lnTo>
                <a:lnTo>
                  <a:pt x="122" y="17909"/>
                </a:lnTo>
                <a:lnTo>
                  <a:pt x="195" y="17885"/>
                </a:lnTo>
                <a:lnTo>
                  <a:pt x="219" y="17836"/>
                </a:lnTo>
                <a:lnTo>
                  <a:pt x="463" y="17763"/>
                </a:lnTo>
                <a:lnTo>
                  <a:pt x="682" y="17666"/>
                </a:lnTo>
                <a:lnTo>
                  <a:pt x="901" y="17544"/>
                </a:lnTo>
                <a:lnTo>
                  <a:pt x="1120" y="17398"/>
                </a:lnTo>
                <a:lnTo>
                  <a:pt x="1533" y="17106"/>
                </a:lnTo>
                <a:lnTo>
                  <a:pt x="1947" y="16838"/>
                </a:lnTo>
                <a:lnTo>
                  <a:pt x="2433" y="16522"/>
                </a:lnTo>
                <a:lnTo>
                  <a:pt x="2896" y="16206"/>
                </a:lnTo>
                <a:lnTo>
                  <a:pt x="3358" y="15865"/>
                </a:lnTo>
                <a:lnTo>
                  <a:pt x="3820" y="15524"/>
                </a:lnTo>
                <a:lnTo>
                  <a:pt x="4867" y="14697"/>
                </a:lnTo>
                <a:lnTo>
                  <a:pt x="5889" y="13845"/>
                </a:lnTo>
                <a:lnTo>
                  <a:pt x="6886" y="12945"/>
                </a:lnTo>
                <a:lnTo>
                  <a:pt x="7860" y="12045"/>
                </a:lnTo>
                <a:lnTo>
                  <a:pt x="7860" y="12021"/>
                </a:lnTo>
                <a:lnTo>
                  <a:pt x="9222" y="13261"/>
                </a:lnTo>
                <a:lnTo>
                  <a:pt x="9879" y="13870"/>
                </a:lnTo>
                <a:lnTo>
                  <a:pt x="10195" y="14210"/>
                </a:lnTo>
                <a:lnTo>
                  <a:pt x="10512" y="14527"/>
                </a:lnTo>
                <a:lnTo>
                  <a:pt x="10585" y="14600"/>
                </a:lnTo>
                <a:lnTo>
                  <a:pt x="10658" y="14624"/>
                </a:lnTo>
                <a:lnTo>
                  <a:pt x="10731" y="14624"/>
                </a:lnTo>
                <a:lnTo>
                  <a:pt x="10804" y="14600"/>
                </a:lnTo>
                <a:lnTo>
                  <a:pt x="10925" y="14648"/>
                </a:lnTo>
                <a:lnTo>
                  <a:pt x="11047" y="14673"/>
                </a:lnTo>
                <a:lnTo>
                  <a:pt x="11290" y="14721"/>
                </a:lnTo>
                <a:lnTo>
                  <a:pt x="11534" y="14697"/>
                </a:lnTo>
                <a:lnTo>
                  <a:pt x="11655" y="14673"/>
                </a:lnTo>
                <a:lnTo>
                  <a:pt x="11777" y="14624"/>
                </a:lnTo>
                <a:lnTo>
                  <a:pt x="11923" y="14527"/>
                </a:lnTo>
                <a:lnTo>
                  <a:pt x="12045" y="14429"/>
                </a:lnTo>
                <a:lnTo>
                  <a:pt x="12142" y="14283"/>
                </a:lnTo>
                <a:lnTo>
                  <a:pt x="12239" y="14137"/>
                </a:lnTo>
                <a:lnTo>
                  <a:pt x="12312" y="13967"/>
                </a:lnTo>
                <a:lnTo>
                  <a:pt x="12385" y="13797"/>
                </a:lnTo>
                <a:lnTo>
                  <a:pt x="12458" y="13480"/>
                </a:lnTo>
                <a:lnTo>
                  <a:pt x="12531" y="13091"/>
                </a:lnTo>
                <a:lnTo>
                  <a:pt x="12580" y="12653"/>
                </a:lnTo>
                <a:lnTo>
                  <a:pt x="12580" y="12240"/>
                </a:lnTo>
                <a:lnTo>
                  <a:pt x="12556" y="11802"/>
                </a:lnTo>
                <a:lnTo>
                  <a:pt x="12483" y="11364"/>
                </a:lnTo>
                <a:lnTo>
                  <a:pt x="12385" y="10950"/>
                </a:lnTo>
                <a:lnTo>
                  <a:pt x="12264" y="10536"/>
                </a:lnTo>
                <a:lnTo>
                  <a:pt x="12093" y="10171"/>
                </a:lnTo>
                <a:lnTo>
                  <a:pt x="12337" y="9977"/>
                </a:lnTo>
                <a:lnTo>
                  <a:pt x="12580" y="9758"/>
                </a:lnTo>
                <a:lnTo>
                  <a:pt x="12994" y="9295"/>
                </a:lnTo>
                <a:lnTo>
                  <a:pt x="13407" y="8833"/>
                </a:lnTo>
                <a:lnTo>
                  <a:pt x="13845" y="8371"/>
                </a:lnTo>
                <a:lnTo>
                  <a:pt x="13918" y="8322"/>
                </a:lnTo>
                <a:lnTo>
                  <a:pt x="13967" y="8273"/>
                </a:lnTo>
                <a:lnTo>
                  <a:pt x="14259" y="8006"/>
                </a:lnTo>
                <a:lnTo>
                  <a:pt x="14575" y="7714"/>
                </a:lnTo>
                <a:lnTo>
                  <a:pt x="14721" y="7543"/>
                </a:lnTo>
                <a:lnTo>
                  <a:pt x="14867" y="7373"/>
                </a:lnTo>
                <a:lnTo>
                  <a:pt x="14965" y="7203"/>
                </a:lnTo>
                <a:lnTo>
                  <a:pt x="15062" y="7057"/>
                </a:lnTo>
                <a:lnTo>
                  <a:pt x="15427" y="7154"/>
                </a:lnTo>
                <a:lnTo>
                  <a:pt x="15865" y="7203"/>
                </a:lnTo>
                <a:lnTo>
                  <a:pt x="16279" y="7227"/>
                </a:lnTo>
                <a:lnTo>
                  <a:pt x="16498" y="7203"/>
                </a:lnTo>
                <a:lnTo>
                  <a:pt x="16717" y="7178"/>
                </a:lnTo>
                <a:lnTo>
                  <a:pt x="16911" y="7130"/>
                </a:lnTo>
                <a:lnTo>
                  <a:pt x="17106" y="7057"/>
                </a:lnTo>
                <a:lnTo>
                  <a:pt x="17300" y="6959"/>
                </a:lnTo>
                <a:lnTo>
                  <a:pt x="17446" y="6862"/>
                </a:lnTo>
                <a:lnTo>
                  <a:pt x="17617" y="6740"/>
                </a:lnTo>
                <a:lnTo>
                  <a:pt x="17738" y="6594"/>
                </a:lnTo>
                <a:lnTo>
                  <a:pt x="17836" y="6424"/>
                </a:lnTo>
                <a:lnTo>
                  <a:pt x="17909" y="6229"/>
                </a:lnTo>
                <a:lnTo>
                  <a:pt x="17957" y="6108"/>
                </a:lnTo>
                <a:lnTo>
                  <a:pt x="17957" y="5986"/>
                </a:lnTo>
                <a:lnTo>
                  <a:pt x="17933" y="5864"/>
                </a:lnTo>
                <a:lnTo>
                  <a:pt x="17909" y="5743"/>
                </a:lnTo>
                <a:lnTo>
                  <a:pt x="17811" y="5548"/>
                </a:lnTo>
                <a:lnTo>
                  <a:pt x="17690" y="5353"/>
                </a:lnTo>
                <a:lnTo>
                  <a:pt x="17495" y="5183"/>
                </a:lnTo>
                <a:lnTo>
                  <a:pt x="17325" y="5013"/>
                </a:lnTo>
                <a:lnTo>
                  <a:pt x="16960" y="4721"/>
                </a:lnTo>
                <a:lnTo>
                  <a:pt x="16692" y="4453"/>
                </a:lnTo>
                <a:lnTo>
                  <a:pt x="16425" y="4161"/>
                </a:lnTo>
                <a:lnTo>
                  <a:pt x="15914" y="3577"/>
                </a:lnTo>
                <a:lnTo>
                  <a:pt x="15403" y="2993"/>
                </a:lnTo>
                <a:lnTo>
                  <a:pt x="15135" y="2701"/>
                </a:lnTo>
                <a:lnTo>
                  <a:pt x="14843" y="2434"/>
                </a:lnTo>
                <a:lnTo>
                  <a:pt x="14283" y="1996"/>
                </a:lnTo>
                <a:lnTo>
                  <a:pt x="14016" y="1777"/>
                </a:lnTo>
                <a:lnTo>
                  <a:pt x="13772" y="1533"/>
                </a:lnTo>
                <a:lnTo>
                  <a:pt x="13529" y="1266"/>
                </a:lnTo>
                <a:lnTo>
                  <a:pt x="13310" y="998"/>
                </a:lnTo>
                <a:lnTo>
                  <a:pt x="13091" y="706"/>
                </a:lnTo>
                <a:lnTo>
                  <a:pt x="12848" y="438"/>
                </a:lnTo>
                <a:lnTo>
                  <a:pt x="12677" y="292"/>
                </a:lnTo>
                <a:lnTo>
                  <a:pt x="12507" y="171"/>
                </a:lnTo>
                <a:lnTo>
                  <a:pt x="12337" y="98"/>
                </a:lnTo>
                <a:lnTo>
                  <a:pt x="12142" y="25"/>
                </a:lnTo>
                <a:lnTo>
                  <a:pt x="11947" y="0"/>
                </a:ln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grpSp>
        <p:nvGrpSpPr>
          <p:cNvPr id="637" name="Group 4"/>
          <p:cNvGrpSpPr/>
          <p:nvPr/>
        </p:nvGrpSpPr>
        <p:grpSpPr>
          <a:xfrm>
            <a:off x="5528160" y="1599120"/>
            <a:ext cx="2843280" cy="2995920"/>
            <a:chOff x="5528160" y="1599120"/>
            <a:chExt cx="2843280" cy="2995920"/>
          </a:xfrm>
        </p:grpSpPr>
        <p:sp>
          <p:nvSpPr>
            <p:cNvPr id="638" name="CustomShape 5"/>
            <p:cNvSpPr/>
            <p:nvPr/>
          </p:nvSpPr>
          <p:spPr>
            <a:xfrm>
              <a:off x="5528160" y="1599120"/>
              <a:ext cx="2843280" cy="575280"/>
            </a:xfrm>
            <a:prstGeom prst="chevron">
              <a:avLst>
                <a:gd name="adj" fmla="val 50000"/>
              </a:avLst>
            </a:prstGeom>
            <a:solidFill>
              <a:schemeClr val="lt1"/>
            </a:solidFill>
            <a:ln w="28440">
              <a:solidFill>
                <a:srgbClr val="7030A0"/>
              </a:solidFill>
              <a:round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tIns="91440" bIns="91440" anchor="ctr">
              <a:noAutofit/>
            </a:bodyPr>
            <a:lstStyle/>
            <a:p>
              <a:pPr algn="ctr">
                <a:lnSpc>
                  <a:spcPct val="100000"/>
                </a:lnSpc>
              </a:pPr>
              <a:r>
                <a:rPr lang="pt-BR" sz="4400" b="1" strike="noStrike" spc="-1">
                  <a:solidFill>
                    <a:srgbClr val="2B3547"/>
                  </a:solidFill>
                  <a:latin typeface="Amatic SC"/>
                  <a:ea typeface="Amatic SC"/>
                </a:rPr>
                <a:t>Agir </a:t>
              </a:r>
              <a:endParaRPr lang="pt-BR" sz="4400" b="0" strike="noStrike" spc="-1">
                <a:latin typeface="Arial"/>
              </a:endParaRPr>
            </a:p>
          </p:txBody>
        </p:sp>
        <p:sp>
          <p:nvSpPr>
            <p:cNvPr id="639" name="CustomShape 6"/>
            <p:cNvSpPr/>
            <p:nvPr/>
          </p:nvSpPr>
          <p:spPr>
            <a:xfrm>
              <a:off x="5940000" y="2345400"/>
              <a:ext cx="2206800" cy="2249640"/>
            </a:xfrm>
            <a:prstGeom prst="rect">
              <a:avLst/>
            </a:prstGeom>
            <a:noFill/>
            <a:ln w="38100">
              <a:solidFill>
                <a:srgbClr val="7030A0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tIns="91440" bIns="91440">
              <a:noAutofit/>
            </a:bodyPr>
            <a:lstStyle/>
            <a:p>
              <a:pPr algn="ctr">
                <a:lnSpc>
                  <a:spcPct val="115000"/>
                </a:lnSpc>
              </a:pPr>
              <a:r>
                <a:rPr lang="pt-BR" sz="4000" b="1" strike="noStrike" spc="-1" dirty="0">
                  <a:solidFill>
                    <a:srgbClr val="2B3547"/>
                  </a:solidFill>
                  <a:latin typeface="Nunito"/>
                  <a:ea typeface="Nunito"/>
                </a:rPr>
                <a:t>Inspirar </a:t>
              </a:r>
              <a:endParaRPr lang="pt-BR" sz="4000" b="0" strike="noStrike" spc="-1" dirty="0">
                <a:latin typeface="Arial"/>
              </a:endParaRPr>
            </a:p>
          </p:txBody>
        </p:sp>
      </p:grpSp>
      <p:grpSp>
        <p:nvGrpSpPr>
          <p:cNvPr id="640" name="Group 7"/>
          <p:cNvGrpSpPr/>
          <p:nvPr/>
        </p:nvGrpSpPr>
        <p:grpSpPr>
          <a:xfrm>
            <a:off x="398520" y="1599480"/>
            <a:ext cx="3332520" cy="2995560"/>
            <a:chOff x="398520" y="1599480"/>
            <a:chExt cx="3332520" cy="2995560"/>
          </a:xfrm>
          <a:solidFill>
            <a:schemeClr val="accent3">
              <a:lumMod val="40000"/>
              <a:lumOff val="60000"/>
            </a:schemeClr>
          </a:solidFill>
        </p:grpSpPr>
        <p:sp>
          <p:nvSpPr>
            <p:cNvPr id="641" name="CustomShape 8"/>
            <p:cNvSpPr/>
            <p:nvPr/>
          </p:nvSpPr>
          <p:spPr>
            <a:xfrm>
              <a:off x="398520" y="1599480"/>
              <a:ext cx="3332520" cy="575280"/>
            </a:xfrm>
            <a:prstGeom prst="homePlate">
              <a:avLst>
                <a:gd name="adj" fmla="val 50000"/>
              </a:avLst>
            </a:prstGeom>
            <a:grpFill/>
            <a:ln w="28440">
              <a:solidFill>
                <a:srgbClr val="C00000"/>
              </a:solidFill>
              <a:round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tIns="91440" bIns="91440" anchor="ctr">
              <a:noAutofit/>
            </a:bodyPr>
            <a:lstStyle/>
            <a:p>
              <a:pPr algn="ctr">
                <a:lnSpc>
                  <a:spcPct val="100000"/>
                </a:lnSpc>
              </a:pPr>
              <a:r>
                <a:rPr lang="pt-BR" sz="4400" b="1" strike="noStrike" spc="-1" dirty="0">
                  <a:solidFill>
                    <a:srgbClr val="2B3547"/>
                  </a:solidFill>
                  <a:latin typeface="Amatic SC"/>
                  <a:ea typeface="Amatic SC"/>
                </a:rPr>
                <a:t>Ver </a:t>
              </a:r>
              <a:endParaRPr lang="pt-BR" sz="4400" b="0" strike="noStrike" spc="-1" dirty="0">
                <a:latin typeface="Arial"/>
              </a:endParaRPr>
            </a:p>
          </p:txBody>
        </p:sp>
        <p:sp>
          <p:nvSpPr>
            <p:cNvPr id="642" name="CustomShape 9"/>
            <p:cNvSpPr/>
            <p:nvPr/>
          </p:nvSpPr>
          <p:spPr>
            <a:xfrm>
              <a:off x="963720" y="2345400"/>
              <a:ext cx="2072880" cy="2249640"/>
            </a:xfrm>
            <a:prstGeom prst="rect">
              <a:avLst/>
            </a:prstGeom>
            <a:grpFill/>
            <a:ln w="38100">
              <a:solidFill>
                <a:srgbClr val="FF0000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tIns="91440" bIns="91440">
              <a:noAutofit/>
            </a:bodyPr>
            <a:lstStyle/>
            <a:p>
              <a:pPr>
                <a:lnSpc>
                  <a:spcPct val="115000"/>
                </a:lnSpc>
              </a:pPr>
              <a:r>
                <a:rPr lang="pt-BR" sz="4000" b="1" strike="noStrike" spc="-1" dirty="0">
                  <a:solidFill>
                    <a:srgbClr val="2B3547"/>
                  </a:solidFill>
                  <a:latin typeface="Nunito"/>
                  <a:ea typeface="Nunito"/>
                </a:rPr>
                <a:t>Escutar </a:t>
              </a:r>
              <a:endParaRPr lang="pt-BR" sz="4000" b="0" strike="noStrike" spc="-1" dirty="0">
                <a:latin typeface="Arial"/>
              </a:endParaRPr>
            </a:p>
          </p:txBody>
        </p:sp>
      </p:grpSp>
      <p:grpSp>
        <p:nvGrpSpPr>
          <p:cNvPr id="643" name="Group 10"/>
          <p:cNvGrpSpPr/>
          <p:nvPr/>
        </p:nvGrpSpPr>
        <p:grpSpPr>
          <a:xfrm>
            <a:off x="3013920" y="1599120"/>
            <a:ext cx="2843280" cy="2995920"/>
            <a:chOff x="3013920" y="1599120"/>
            <a:chExt cx="2843280" cy="2995920"/>
          </a:xfrm>
          <a:solidFill>
            <a:srgbClr val="00B0F0"/>
          </a:solidFill>
        </p:grpSpPr>
        <p:sp>
          <p:nvSpPr>
            <p:cNvPr id="644" name="CustomShape 11"/>
            <p:cNvSpPr/>
            <p:nvPr/>
          </p:nvSpPr>
          <p:spPr>
            <a:xfrm>
              <a:off x="3013920" y="1599120"/>
              <a:ext cx="2843280" cy="575280"/>
            </a:xfrm>
            <a:prstGeom prst="chevron">
              <a:avLst>
                <a:gd name="adj" fmla="val 50000"/>
              </a:avLst>
            </a:prstGeom>
            <a:grpFill/>
            <a:ln w="28440">
              <a:solidFill>
                <a:srgbClr val="00B0F0"/>
              </a:solidFill>
              <a:round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tIns="91440" bIns="91440" anchor="ctr">
              <a:noAutofit/>
            </a:bodyPr>
            <a:lstStyle/>
            <a:p>
              <a:pPr algn="ctr">
                <a:lnSpc>
                  <a:spcPct val="100000"/>
                </a:lnSpc>
              </a:pPr>
              <a:r>
                <a:rPr lang="pt-BR" sz="4400" b="1" strike="noStrike" spc="-1" dirty="0">
                  <a:solidFill>
                    <a:srgbClr val="2B3547"/>
                  </a:solidFill>
                  <a:latin typeface="Amatic SC"/>
                  <a:ea typeface="Amatic SC"/>
                </a:rPr>
                <a:t>Julgar </a:t>
              </a:r>
              <a:endParaRPr lang="pt-BR" sz="4400" b="0" strike="noStrike" spc="-1" dirty="0">
                <a:latin typeface="Arial"/>
              </a:endParaRPr>
            </a:p>
          </p:txBody>
        </p:sp>
        <p:sp>
          <p:nvSpPr>
            <p:cNvPr id="645" name="CustomShape 12"/>
            <p:cNvSpPr/>
            <p:nvPr/>
          </p:nvSpPr>
          <p:spPr>
            <a:xfrm>
              <a:off x="3474000" y="2345400"/>
              <a:ext cx="2311920" cy="2249640"/>
            </a:xfrm>
            <a:prstGeom prst="rect">
              <a:avLst/>
            </a:prstGeom>
            <a:grpFill/>
            <a:ln w="38100">
              <a:solidFill>
                <a:srgbClr val="00B0F0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tIns="91440" bIns="91440">
              <a:noAutofit/>
            </a:bodyPr>
            <a:lstStyle/>
            <a:p>
              <a:pPr algn="ctr">
                <a:lnSpc>
                  <a:spcPct val="115000"/>
                </a:lnSpc>
              </a:pPr>
              <a:r>
                <a:rPr lang="pt-BR" sz="4000" b="1" strike="noStrike" spc="-1" dirty="0">
                  <a:solidFill>
                    <a:srgbClr val="2B3547"/>
                  </a:solidFill>
                  <a:latin typeface="Nunito"/>
                  <a:ea typeface="Nunito"/>
                </a:rPr>
                <a:t>Discernir </a:t>
              </a:r>
              <a:endParaRPr lang="pt-BR" sz="4000" b="0" strike="noStrike" spc="-1" dirty="0">
                <a:latin typeface="Arial"/>
              </a:endParaRPr>
            </a:p>
          </p:txBody>
        </p:sp>
      </p:grpSp>
      <p:pic>
        <p:nvPicPr>
          <p:cNvPr id="646" name="Picture 2" descr="Falar é fácil. Difícil é saber escutar e usar o silêncio na hora certa -  29/12/2017 - UOL Economia"/>
          <p:cNvPicPr/>
          <p:nvPr/>
        </p:nvPicPr>
        <p:blipFill>
          <a:blip r:embed="rId2"/>
          <a:stretch/>
        </p:blipFill>
        <p:spPr>
          <a:xfrm>
            <a:off x="561960" y="3190680"/>
            <a:ext cx="1502280" cy="1001520"/>
          </a:xfrm>
          <a:prstGeom prst="rect">
            <a:avLst/>
          </a:prstGeom>
          <a:ln>
            <a:noFill/>
          </a:ln>
        </p:spPr>
      </p:pic>
      <p:pic>
        <p:nvPicPr>
          <p:cNvPr id="647" name="Picture 4" descr="O discernimento dos espíritos e o cuidado com a língua"/>
          <p:cNvPicPr/>
          <p:nvPr/>
        </p:nvPicPr>
        <p:blipFill>
          <a:blip r:embed="rId3"/>
          <a:stretch/>
        </p:blipFill>
        <p:spPr>
          <a:xfrm>
            <a:off x="3566520" y="3185280"/>
            <a:ext cx="1621080" cy="1215720"/>
          </a:xfrm>
          <a:prstGeom prst="rect">
            <a:avLst/>
          </a:prstGeom>
          <a:ln>
            <a:noFill/>
          </a:ln>
        </p:spPr>
      </p:pic>
      <p:pic>
        <p:nvPicPr>
          <p:cNvPr id="648" name="Picture 6" descr="Cáritas - CNBB e Cáritas Brasileira lançam Ação Solidária Emergencial da  Igreja no Brasil"/>
          <p:cNvPicPr/>
          <p:nvPr/>
        </p:nvPicPr>
        <p:blipFill>
          <a:blip r:embed="rId4"/>
          <a:stretch/>
        </p:blipFill>
        <p:spPr>
          <a:xfrm>
            <a:off x="5846400" y="2901600"/>
            <a:ext cx="2206800" cy="1290240"/>
          </a:xfrm>
          <a:prstGeom prst="rect">
            <a:avLst/>
          </a:prstGeom>
          <a:ln>
            <a:noFill/>
          </a:ln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DBC50BAC-A25A-4DDA-9DC1-5ADC22ACCA2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9" t="5463" r="38107" b="-1334"/>
          <a:stretch/>
        </p:blipFill>
        <p:spPr>
          <a:xfrm>
            <a:off x="6689328" y="408791"/>
            <a:ext cx="833472" cy="92625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repl">
                                        <p:cTn id="7" dur="1000"/>
                                        <p:tgtEl>
                                          <p:spTgt spid="6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repl">
                                        <p:cTn id="8" dur="1000" fill="hold"/>
                                        <p:tgtEl>
                                          <p:spTgt spid="6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9" dur="1000" fill="hold"/>
                                        <p:tgtEl>
                                          <p:spTgt spid="6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repl">
                                        <p:cTn id="14" dur="1000"/>
                                        <p:tgtEl>
                                          <p:spTgt spid="6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repl">
                                        <p:cTn id="15" dur="1000" fill="hold"/>
                                        <p:tgtEl>
                                          <p:spTgt spid="6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16" dur="1000" fill="hold"/>
                                        <p:tgtEl>
                                          <p:spTgt spid="6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repl">
                                        <p:cTn id="21" dur="1000"/>
                                        <p:tgtEl>
                                          <p:spTgt spid="6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repl">
                                        <p:cTn id="22" dur="1000" fill="hold"/>
                                        <p:tgtEl>
                                          <p:spTgt spid="6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23" dur="1000" fill="hold"/>
                                        <p:tgtEl>
                                          <p:spTgt spid="6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9" name="TextShape 1"/>
          <p:cNvSpPr txBox="1"/>
          <p:nvPr/>
        </p:nvSpPr>
        <p:spPr>
          <a:xfrm>
            <a:off x="883440" y="683640"/>
            <a:ext cx="6426000" cy="39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4400" b="1" strike="noStrike" spc="-1">
                <a:solidFill>
                  <a:srgbClr val="2B3547"/>
                </a:solidFill>
                <a:latin typeface="Amatic SC"/>
                <a:ea typeface="Amatic SC"/>
              </a:rPr>
              <a:t>Escutar</a:t>
            </a:r>
            <a:endParaRPr lang="pt-BR" sz="4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0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4CF2D7E0-56C4-436A-AFF7-ED6EA30E56B8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17</a:t>
            </a:fld>
            <a:endParaRPr lang="pt-BR" sz="1500" b="0" strike="noStrike" spc="-1">
              <a:latin typeface="Times New Roman"/>
            </a:endParaRPr>
          </a:p>
        </p:txBody>
      </p:sp>
      <p:pic>
        <p:nvPicPr>
          <p:cNvPr id="651" name="Picture 2" descr="Molduras para Quadros - 0058 Dourada em Promoção - Quadros Design"/>
          <p:cNvPicPr/>
          <p:nvPr/>
        </p:nvPicPr>
        <p:blipFill>
          <a:blip r:embed="rId2"/>
          <a:stretch/>
        </p:blipFill>
        <p:spPr>
          <a:xfrm>
            <a:off x="3535560" y="1580400"/>
            <a:ext cx="2034720" cy="2615400"/>
          </a:xfrm>
          <a:prstGeom prst="rect">
            <a:avLst/>
          </a:prstGeom>
          <a:ln>
            <a:noFill/>
          </a:ln>
        </p:spPr>
      </p:pic>
      <p:sp>
        <p:nvSpPr>
          <p:cNvPr id="652" name="CustomShape 3"/>
          <p:cNvSpPr/>
          <p:nvPr/>
        </p:nvSpPr>
        <p:spPr>
          <a:xfrm>
            <a:off x="4020480" y="1298160"/>
            <a:ext cx="1460160" cy="396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3400" b="1" strike="noStrike" spc="-1">
                <a:solidFill>
                  <a:srgbClr val="2B3547"/>
                </a:solidFill>
                <a:latin typeface="Amatic SC"/>
                <a:ea typeface="Amatic SC"/>
              </a:rPr>
              <a:t>Pandemia </a:t>
            </a:r>
            <a:endParaRPr lang="pt-BR" sz="3400" b="0" strike="noStrike" spc="-1">
              <a:latin typeface="Arial"/>
            </a:endParaRPr>
          </a:p>
        </p:txBody>
      </p:sp>
      <p:sp>
        <p:nvSpPr>
          <p:cNvPr id="653" name="CustomShape 4"/>
          <p:cNvSpPr/>
          <p:nvPr/>
        </p:nvSpPr>
        <p:spPr>
          <a:xfrm>
            <a:off x="1917360" y="2705760"/>
            <a:ext cx="1460160" cy="396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3400" b="1" strike="noStrike" spc="-1">
                <a:solidFill>
                  <a:srgbClr val="2B3547"/>
                </a:solidFill>
                <a:latin typeface="Amatic SC"/>
                <a:ea typeface="Amatic SC"/>
              </a:rPr>
              <a:t>Projeto de vida  </a:t>
            </a:r>
            <a:endParaRPr lang="pt-BR" sz="3400" b="0" strike="noStrike" spc="-1">
              <a:latin typeface="Arial"/>
            </a:endParaRPr>
          </a:p>
        </p:txBody>
      </p:sp>
      <p:sp>
        <p:nvSpPr>
          <p:cNvPr id="654" name="CustomShape 5"/>
          <p:cNvSpPr/>
          <p:nvPr/>
        </p:nvSpPr>
        <p:spPr>
          <a:xfrm>
            <a:off x="3204720" y="4193280"/>
            <a:ext cx="2863800" cy="396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3400" b="1" strike="noStrike" spc="-1">
                <a:solidFill>
                  <a:srgbClr val="2B3547"/>
                </a:solidFill>
                <a:latin typeface="Amatic SC"/>
                <a:ea typeface="Amatic SC"/>
              </a:rPr>
              <a:t>Contextos Educativos</a:t>
            </a:r>
            <a:endParaRPr lang="pt-BR" sz="3400" b="0" strike="noStrike" spc="-1">
              <a:latin typeface="Arial"/>
            </a:endParaRPr>
          </a:p>
        </p:txBody>
      </p:sp>
      <p:sp>
        <p:nvSpPr>
          <p:cNvPr id="655" name="CustomShape 6"/>
          <p:cNvSpPr/>
          <p:nvPr/>
        </p:nvSpPr>
        <p:spPr>
          <a:xfrm>
            <a:off x="5832000" y="2705760"/>
            <a:ext cx="2275560" cy="396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3400" b="1" strike="noStrike" spc="-1">
                <a:solidFill>
                  <a:srgbClr val="2B3547"/>
                </a:solidFill>
                <a:latin typeface="Amatic SC"/>
                <a:ea typeface="Amatic SC"/>
              </a:rPr>
              <a:t>Informação, Conhecimento e Sabedoria  </a:t>
            </a:r>
            <a:endParaRPr lang="pt-BR" sz="3400" b="0" strike="noStrike" spc="-1">
              <a:latin typeface="Arial"/>
            </a:endParaRPr>
          </a:p>
        </p:txBody>
      </p:sp>
      <p:sp>
        <p:nvSpPr>
          <p:cNvPr id="656" name="CustomShape 7"/>
          <p:cNvSpPr/>
          <p:nvPr/>
        </p:nvSpPr>
        <p:spPr>
          <a:xfrm>
            <a:off x="4062600" y="2701080"/>
            <a:ext cx="980640" cy="396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1200" b="1" strike="noStrike" spc="-1">
                <a:solidFill>
                  <a:srgbClr val="2B3547"/>
                </a:solidFill>
                <a:latin typeface="Palotino"/>
                <a:ea typeface="Amatic SC"/>
              </a:rPr>
              <a:t>1. Formal</a:t>
            </a:r>
            <a:endParaRPr lang="pt-BR" sz="1200" b="0" strike="noStrike" spc="-1">
              <a:latin typeface="Arial"/>
            </a:endParaRPr>
          </a:p>
          <a:p>
            <a:pPr algn="ctr">
              <a:lnSpc>
                <a:spcPct val="90000"/>
              </a:lnSpc>
            </a:pPr>
            <a:r>
              <a:rPr lang="pt-BR" sz="1200" b="1" strike="noStrike" spc="-1">
                <a:solidFill>
                  <a:srgbClr val="2B3547"/>
                </a:solidFill>
                <a:latin typeface="Palotino"/>
                <a:ea typeface="Amatic SC"/>
              </a:rPr>
              <a:t>2. Básica</a:t>
            </a:r>
            <a:endParaRPr lang="pt-BR" sz="1200" b="0" strike="noStrike" spc="-1">
              <a:latin typeface="Arial"/>
            </a:endParaRPr>
          </a:p>
          <a:p>
            <a:pPr algn="ctr">
              <a:lnSpc>
                <a:spcPct val="90000"/>
              </a:lnSpc>
            </a:pPr>
            <a:r>
              <a:rPr lang="pt-BR" sz="1200" b="1" strike="noStrike" spc="-1">
                <a:solidFill>
                  <a:srgbClr val="2B3547"/>
                </a:solidFill>
                <a:latin typeface="Palotino"/>
                <a:ea typeface="Amatic SC"/>
              </a:rPr>
              <a:t>3. Superior </a:t>
            </a:r>
            <a:endParaRPr lang="pt-BR" sz="1200" b="0" strike="noStrike" spc="-1">
              <a:latin typeface="Arial"/>
            </a:endParaRPr>
          </a:p>
          <a:p>
            <a:pPr algn="ctr">
              <a:lnSpc>
                <a:spcPct val="90000"/>
              </a:lnSpc>
            </a:pPr>
            <a:r>
              <a:rPr lang="pt-BR" sz="1200" b="1" strike="noStrike" spc="-1">
                <a:solidFill>
                  <a:srgbClr val="2B3547"/>
                </a:solidFill>
                <a:latin typeface="Palotino"/>
                <a:ea typeface="Amatic SC"/>
              </a:rPr>
              <a:t>4. Popular </a:t>
            </a:r>
            <a:endParaRPr lang="pt-BR" sz="1200" b="0" strike="noStrike" spc="-1">
              <a:latin typeface="Arial"/>
            </a:endParaRPr>
          </a:p>
          <a:p>
            <a:pPr algn="ctr">
              <a:lnSpc>
                <a:spcPct val="90000"/>
              </a:lnSpc>
            </a:pPr>
            <a:r>
              <a:rPr lang="pt-BR" sz="1200" b="1" strike="noStrike" spc="-1">
                <a:solidFill>
                  <a:srgbClr val="2B3547"/>
                </a:solidFill>
                <a:latin typeface="Palotino"/>
                <a:ea typeface="Amatic SC"/>
              </a:rPr>
              <a:t>5. Instituições Católicas</a:t>
            </a:r>
            <a:endParaRPr lang="pt-BR" sz="1200" b="0" strike="noStrike" spc="-1">
              <a:latin typeface="Arial"/>
            </a:endParaRPr>
          </a:p>
          <a:p>
            <a:pPr algn="ctr">
              <a:lnSpc>
                <a:spcPct val="90000"/>
              </a:lnSpc>
            </a:pPr>
            <a:r>
              <a:rPr lang="pt-BR" sz="1200" b="1" strike="noStrike" spc="-1">
                <a:solidFill>
                  <a:srgbClr val="2B3547"/>
                </a:solidFill>
                <a:latin typeface="Palotino"/>
                <a:ea typeface="Amatic SC"/>
              </a:rPr>
              <a:t>6. Professores e gestores</a:t>
            </a:r>
            <a:endParaRPr lang="pt-BR" sz="1200" b="0" strike="noStrike" spc="-1">
              <a:latin typeface="Arial"/>
            </a:endParaRPr>
          </a:p>
          <a:p>
            <a:pPr algn="ctr">
              <a:lnSpc>
                <a:spcPct val="90000"/>
              </a:lnSpc>
            </a:pPr>
            <a:r>
              <a:rPr lang="pt-BR" sz="1200" b="1" strike="noStrike" spc="-1">
                <a:solidFill>
                  <a:srgbClr val="2B3547"/>
                </a:solidFill>
                <a:latin typeface="Palotino"/>
                <a:ea typeface="Amatic SC"/>
              </a:rPr>
              <a:t>7. Ensino Religioso </a:t>
            </a:r>
            <a:endParaRPr lang="pt-BR" sz="1200" b="0" strike="noStrike" spc="-1">
              <a:latin typeface="Arial"/>
            </a:endParaRPr>
          </a:p>
        </p:txBody>
      </p:sp>
      <p:pic>
        <p:nvPicPr>
          <p:cNvPr id="657" name="Picture 4" descr="Como Compañía de María estamos con el Pacto Educativo Global! | Orden de la  Compañía de María N.S."/>
          <p:cNvPicPr/>
          <p:nvPr/>
        </p:nvPicPr>
        <p:blipFill>
          <a:blip r:embed="rId3"/>
          <a:stretch/>
        </p:blipFill>
        <p:spPr>
          <a:xfrm>
            <a:off x="3566520" y="1694520"/>
            <a:ext cx="1945080" cy="2444400"/>
          </a:xfrm>
          <a:prstGeom prst="rect">
            <a:avLst/>
          </a:prstGeom>
          <a:ln>
            <a:noFill/>
          </a:ln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FF8D1857-599F-40D1-B358-14CEF5E7B0F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9" t="5463" r="38107" b="-1334"/>
          <a:stretch/>
        </p:blipFill>
        <p:spPr>
          <a:xfrm>
            <a:off x="7961778" y="3522118"/>
            <a:ext cx="884844" cy="98334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7" dur="500" fill="hold"/>
                                        <p:tgtEl>
                                          <p:spTgt spid="6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8" dur="500" fill="hold"/>
                                        <p:tgtEl>
                                          <p:spTgt spid="6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13" dur="1000" fill="hold"/>
                                        <p:tgtEl>
                                          <p:spTgt spid="6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14" dur="1000" fill="hold"/>
                                        <p:tgtEl>
                                          <p:spTgt spid="6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15" dur="1000" fill="hold"/>
                                        <p:tgtEl>
                                          <p:spTgt spid="6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90"/>
                                          </p:val>
                                        </p:tav>
                                        <p:tav tm="100000">
                                          <p:val>
                                            <p:str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 additive="repl">
                                        <p:cTn id="16" dur="1000"/>
                                        <p:tgtEl>
                                          <p:spTgt spid="6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1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21" dur="1000" fill="hold"/>
                                        <p:tgtEl>
                                          <p:spTgt spid="6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22" dur="1000" fill="hold"/>
                                        <p:tgtEl>
                                          <p:spTgt spid="6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23" dur="1000" fill="hold"/>
                                        <p:tgtEl>
                                          <p:spTgt spid="65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90"/>
                                          </p:val>
                                        </p:tav>
                                        <p:tav tm="100000">
                                          <p:val>
                                            <p:str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 additive="repl">
                                        <p:cTn id="24" dur="1000"/>
                                        <p:tgtEl>
                                          <p:spTgt spid="6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29" dur="500" fill="hold"/>
                                        <p:tgtEl>
                                          <p:spTgt spid="6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30" dur="500" fill="hold"/>
                                        <p:tgtEl>
                                          <p:spTgt spid="6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 additive="repl">
                                        <p:cTn id="35" dur="2000"/>
                                        <p:tgtEl>
                                          <p:spTgt spid="6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repl">
                                        <p:cTn id="40" dur="1000"/>
                                        <p:tgtEl>
                                          <p:spTgt spid="6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 additive="repl">
                                        <p:cTn id="41" dur="1000" fill="hold"/>
                                        <p:tgtEl>
                                          <p:spTgt spid="6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42" dur="1000" fill="hold"/>
                                        <p:tgtEl>
                                          <p:spTgt spid="6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" name="TextShape 1"/>
          <p:cNvSpPr txBox="1"/>
          <p:nvPr/>
        </p:nvSpPr>
        <p:spPr>
          <a:xfrm>
            <a:off x="1714320" y="1186920"/>
            <a:ext cx="5715000" cy="2769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marL="457200" indent="-406080" algn="ctr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4400" b="1" strike="noStrike" spc="-1">
                <a:solidFill>
                  <a:srgbClr val="2B3547"/>
                </a:solidFill>
                <a:latin typeface="Nunito SemiBold"/>
                <a:ea typeface="Nunito SemiBold"/>
              </a:rPr>
              <a:t>Um convite para refletir sobre a realidade </a:t>
            </a:r>
            <a:endParaRPr lang="pt-BR" sz="4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9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1B7778A7-F72C-43CD-847E-58F721B5A04E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18</a:t>
            </a:fld>
            <a:endParaRPr lang="pt-BR" sz="1500" b="0" strike="noStrike" spc="-1">
              <a:latin typeface="Times New Roman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A4500FE3-D149-4EC3-8086-15D9A721B78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9" t="5463" r="38107" b="-1334"/>
          <a:stretch/>
        </p:blipFill>
        <p:spPr>
          <a:xfrm>
            <a:off x="1079256" y="2088667"/>
            <a:ext cx="1967162" cy="218615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0" name="TextShape 1"/>
          <p:cNvSpPr txBox="1"/>
          <p:nvPr/>
        </p:nvSpPr>
        <p:spPr>
          <a:xfrm>
            <a:off x="3156840" y="1186920"/>
            <a:ext cx="5715000" cy="2769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marL="457200" indent="-406080" algn="ctr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4000" b="1" strike="noStrike" spc="-1">
                <a:solidFill>
                  <a:srgbClr val="2B3547"/>
                </a:solidFill>
                <a:latin typeface="Nunito SemiBold"/>
                <a:ea typeface="Nunito SemiBold"/>
              </a:rPr>
              <a:t>Acolher</a:t>
            </a:r>
            <a:endParaRPr lang="pt-BR" sz="4000" b="0" strike="noStrike" spc="-1">
              <a:solidFill>
                <a:srgbClr val="000000"/>
              </a:solidFill>
              <a:latin typeface="Arial"/>
            </a:endParaRPr>
          </a:p>
          <a:p>
            <a:pPr marL="457200" indent="-406080" algn="ctr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4000" b="1" strike="noStrike" spc="-1">
                <a:solidFill>
                  <a:srgbClr val="2B3547"/>
                </a:solidFill>
                <a:latin typeface="Nunito SemiBold"/>
                <a:ea typeface="Nunito SemiBold"/>
              </a:rPr>
              <a:t>Compreender</a:t>
            </a:r>
            <a:endParaRPr lang="pt-BR" sz="4000" b="0" strike="noStrike" spc="-1">
              <a:solidFill>
                <a:srgbClr val="000000"/>
              </a:solidFill>
              <a:latin typeface="Arial"/>
            </a:endParaRPr>
          </a:p>
          <a:p>
            <a:pPr marL="457200" indent="-406080" algn="ctr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4000" b="1" strike="noStrike" spc="-1">
                <a:solidFill>
                  <a:srgbClr val="2B3547"/>
                </a:solidFill>
                <a:latin typeface="Nunito SemiBold"/>
                <a:ea typeface="Nunito SemiBold"/>
              </a:rPr>
              <a:t>Problematizar </a:t>
            </a:r>
            <a:endParaRPr lang="pt-BR" sz="4000" b="0" strike="noStrike" spc="-1">
              <a:solidFill>
                <a:srgbClr val="000000"/>
              </a:solidFill>
              <a:latin typeface="Arial"/>
            </a:endParaRPr>
          </a:p>
          <a:p>
            <a:pPr marL="457200" indent="-406080" algn="ctr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4000" b="1" strike="noStrike" spc="-1">
                <a:solidFill>
                  <a:srgbClr val="2B3547"/>
                </a:solidFill>
                <a:latin typeface="Nunito SemiBold"/>
                <a:ea typeface="Nunito SemiBold"/>
              </a:rPr>
              <a:t>Transformar </a:t>
            </a:r>
            <a:endParaRPr lang="pt-BR" sz="40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1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23C935E1-4E6C-4DE2-BB23-8A8FDF44165C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19</a:t>
            </a:fld>
            <a:endParaRPr lang="pt-BR" sz="1500" b="0" strike="noStrike" spc="-1">
              <a:latin typeface="Times New Roman"/>
            </a:endParaRPr>
          </a:p>
        </p:txBody>
      </p:sp>
      <p:pic>
        <p:nvPicPr>
          <p:cNvPr id="662" name="Picture 2" descr="Nova Realidade | Ashoka | Everyone a Changemaker"/>
          <p:cNvPicPr/>
          <p:nvPr/>
        </p:nvPicPr>
        <p:blipFill>
          <a:blip r:embed="rId2"/>
          <a:stretch/>
        </p:blipFill>
        <p:spPr>
          <a:xfrm>
            <a:off x="1180080" y="1412640"/>
            <a:ext cx="3233160" cy="231768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CustomShape 1"/>
          <p:cNvSpPr/>
          <p:nvPr/>
        </p:nvSpPr>
        <p:spPr>
          <a:xfrm>
            <a:off x="0" y="0"/>
            <a:ext cx="9141390" cy="5143230"/>
          </a:xfrm>
          <a:prstGeom prst="rect">
            <a:avLst/>
          </a:prstGeom>
          <a:solidFill>
            <a:srgbClr val="FF0000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41" name="TextShape 2"/>
          <p:cNvSpPr txBox="1"/>
          <p:nvPr/>
        </p:nvSpPr>
        <p:spPr>
          <a:xfrm>
            <a:off x="2062673" y="0"/>
            <a:ext cx="6023917" cy="537445"/>
          </a:xfrm>
          <a:prstGeom prst="rect">
            <a:avLst/>
          </a:prstGeom>
          <a:noFill/>
          <a:ln>
            <a:noFill/>
          </a:ln>
        </p:spPr>
        <p:txBody>
          <a:bodyPr anchor="b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625" b="1" spc="-1" dirty="0" err="1">
                <a:solidFill>
                  <a:srgbClr val="002060"/>
                </a:solidFill>
                <a:latin typeface="Comic Sans MS"/>
              </a:rPr>
              <a:t>Campanha</a:t>
            </a:r>
            <a:r>
              <a:rPr lang="en-US" sz="2625" b="1" spc="-1" dirty="0">
                <a:solidFill>
                  <a:srgbClr val="002060"/>
                </a:solidFill>
                <a:latin typeface="Comic Sans MS"/>
              </a:rPr>
              <a:t> da </a:t>
            </a:r>
            <a:r>
              <a:rPr lang="en-US" sz="2625" b="1" spc="-1" dirty="0" err="1">
                <a:solidFill>
                  <a:srgbClr val="002060"/>
                </a:solidFill>
                <a:latin typeface="Comic Sans MS"/>
              </a:rPr>
              <a:t>Fraternidade</a:t>
            </a:r>
            <a:r>
              <a:rPr lang="en-US" sz="2625" b="1" spc="-1" dirty="0">
                <a:solidFill>
                  <a:srgbClr val="002060"/>
                </a:solidFill>
                <a:latin typeface="Comic Sans MS"/>
              </a:rPr>
              <a:t> 2022</a:t>
            </a:r>
            <a:endParaRPr lang="en-US" sz="2625" spc="-1" dirty="0">
              <a:solidFill>
                <a:srgbClr val="000000"/>
              </a:solidFill>
              <a:latin typeface="Century Gothic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95AA7812-580F-4F57-89E6-4EBBC93161F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158"/>
          <a:stretch/>
        </p:blipFill>
        <p:spPr>
          <a:xfrm rot="21136208">
            <a:off x="149907" y="1988636"/>
            <a:ext cx="1849022" cy="2392795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2FD38CD4-A14B-4D15-B540-E36C2F0A053C}"/>
              </a:ext>
            </a:extLst>
          </p:cNvPr>
          <p:cNvSpPr txBox="1"/>
          <p:nvPr/>
        </p:nvSpPr>
        <p:spPr>
          <a:xfrm rot="5400000">
            <a:off x="8476785" y="4473779"/>
            <a:ext cx="890752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50" b="1" dirty="0"/>
              <a:t>1998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F7487BB7-16B8-4676-A8AE-F9CE4CFA31E9}"/>
              </a:ext>
            </a:extLst>
          </p:cNvPr>
          <p:cNvSpPr txBox="1"/>
          <p:nvPr/>
        </p:nvSpPr>
        <p:spPr>
          <a:xfrm rot="21091296">
            <a:off x="781969" y="4384687"/>
            <a:ext cx="882402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50" b="1" dirty="0"/>
              <a:t>1982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84AE6E43-89F7-474D-9749-9B70C8DD31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5284" y="648592"/>
            <a:ext cx="6021306" cy="4376315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1CEE1618-719D-419E-A05B-11C83BB965F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08" t="14408" r="11812" b="8807"/>
          <a:stretch/>
        </p:blipFill>
        <p:spPr>
          <a:xfrm rot="1727644">
            <a:off x="7187824" y="2571561"/>
            <a:ext cx="1512839" cy="2229212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2A9573BB-05AD-46E6-AA07-03FA0FE85E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29910" cy="513844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fill="hold" nodeType="withEffect">
                                  <p:stCondLst>
                                    <p:cond delay="1000"/>
                                  </p:stCondLst>
                                  <p:iterate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 additive="repl">
                                        <p:cTn id="7" dur="7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3" name="TextShape 1"/>
          <p:cNvSpPr txBox="1"/>
          <p:nvPr/>
        </p:nvSpPr>
        <p:spPr>
          <a:xfrm>
            <a:off x="1127160" y="1265400"/>
            <a:ext cx="3444480" cy="22658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marL="50760" algn="ctr">
              <a:lnSpc>
                <a:spcPct val="100000"/>
              </a:lnSpc>
            </a:pPr>
            <a:r>
              <a:rPr lang="pt-BR" sz="4500" b="1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Pedagogia</a:t>
            </a:r>
            <a:endParaRPr lang="pt-BR" sz="4500" b="0" strike="noStrike" spc="-1" dirty="0">
              <a:solidFill>
                <a:srgbClr val="000000"/>
              </a:solidFill>
              <a:latin typeface="Arial"/>
            </a:endParaRPr>
          </a:p>
          <a:p>
            <a:pPr marL="457200" indent="-406080" algn="ctr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4500" b="1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 da </a:t>
            </a:r>
            <a:endParaRPr lang="pt-BR" sz="4500" b="0" strike="noStrike" spc="-1" dirty="0">
              <a:solidFill>
                <a:srgbClr val="000000"/>
              </a:solidFill>
              <a:latin typeface="Arial"/>
            </a:endParaRPr>
          </a:p>
          <a:p>
            <a:pPr marL="457200" indent="-406080" algn="ctr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4500" b="1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Escuta</a:t>
            </a:r>
            <a:endParaRPr lang="pt-BR" sz="4500" b="0" strike="noStrike" spc="-1" dirty="0">
              <a:solidFill>
                <a:srgbClr val="000000"/>
              </a:solidFill>
              <a:latin typeface="Arial"/>
            </a:endParaRPr>
          </a:p>
          <a:p>
            <a:pPr marL="914400" lvl="1" indent="-406080" algn="ctr">
              <a:buClr>
                <a:srgbClr val="AEE25A"/>
              </a:buClr>
              <a:buFont typeface="Nunito SemiBold"/>
              <a:buChar char="✗"/>
            </a:pPr>
            <a:r>
              <a:rPr lang="pt-BR" sz="1200" b="0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                                            (TB </a:t>
            </a:r>
            <a:r>
              <a:rPr lang="pt-BR" sz="1200" b="0" strike="noStrike" spc="-1" dirty="0">
                <a:solidFill>
                  <a:srgbClr val="2B3547"/>
                </a:solidFill>
                <a:latin typeface="Nino"/>
                <a:ea typeface="Nunito SemiBold"/>
              </a:rPr>
              <a:t>N</a:t>
            </a:r>
            <a:r>
              <a:rPr lang="pt-BR" sz="1200" b="0" strike="noStrike" spc="-1" dirty="0">
                <a:solidFill>
                  <a:srgbClr val="2B3547"/>
                </a:solidFill>
                <a:latin typeface="Nino"/>
                <a:ea typeface="Calibri"/>
              </a:rPr>
              <a:t>º 28)  </a:t>
            </a:r>
            <a:endParaRPr lang="pt-BR" sz="12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4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2AE41292-CA11-40EC-B013-440A34B23B16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20</a:t>
            </a:fld>
            <a:endParaRPr lang="pt-BR" sz="1500" b="0" strike="noStrike" spc="-1">
              <a:latin typeface="Times New Roman"/>
            </a:endParaRPr>
          </a:p>
        </p:txBody>
      </p:sp>
      <p:pic>
        <p:nvPicPr>
          <p:cNvPr id="665" name="Picture 6" descr="Mulheres terão que escutar coração do feto antes de aborto - ISTOÉ  Independente"/>
          <p:cNvPicPr/>
          <p:nvPr/>
        </p:nvPicPr>
        <p:blipFill>
          <a:blip r:embed="rId2"/>
          <a:stretch/>
        </p:blipFill>
        <p:spPr>
          <a:xfrm>
            <a:off x="4831200" y="1541160"/>
            <a:ext cx="3266640" cy="171432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6" name="TextShape 1"/>
          <p:cNvSpPr txBox="1"/>
          <p:nvPr/>
        </p:nvSpPr>
        <p:spPr>
          <a:xfrm>
            <a:off x="1714320" y="1335600"/>
            <a:ext cx="5715000" cy="2769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marL="50760" algn="ctr">
              <a:lnSpc>
                <a:spcPct val="100000"/>
              </a:lnSpc>
            </a:pPr>
            <a:r>
              <a:rPr lang="pt-BR" sz="4000" b="1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“Superar a tentação de orientar os ouvidos somente para os sons que nos interessam.”</a:t>
            </a:r>
            <a:r>
              <a:rPr lang="pt-BR" sz="4000" b="0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 </a:t>
            </a:r>
            <a:endParaRPr lang="pt-BR" sz="4000" b="0" strike="noStrike" spc="-1" dirty="0">
              <a:solidFill>
                <a:srgbClr val="000000"/>
              </a:solidFill>
              <a:latin typeface="Arial"/>
            </a:endParaRPr>
          </a:p>
          <a:p>
            <a:pPr marL="457200" indent="-406080" algn="r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1200" b="0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(TB </a:t>
            </a:r>
            <a:r>
              <a:rPr lang="pt-BR" sz="1200" b="0" strike="noStrike" spc="-1" dirty="0">
                <a:solidFill>
                  <a:srgbClr val="2B3547"/>
                </a:solidFill>
                <a:latin typeface="Nino"/>
                <a:ea typeface="Nunito SemiBold"/>
              </a:rPr>
              <a:t>N</a:t>
            </a:r>
            <a:r>
              <a:rPr lang="pt-BR" sz="1200" b="0" strike="noStrike" spc="-1" dirty="0">
                <a:solidFill>
                  <a:srgbClr val="2B3547"/>
                </a:solidFill>
                <a:latin typeface="Nino"/>
                <a:ea typeface="Calibri"/>
              </a:rPr>
              <a:t>º 29)  </a:t>
            </a:r>
            <a:endParaRPr lang="pt-BR" sz="1200" b="0" strike="noStrike" spc="-1" dirty="0">
              <a:solidFill>
                <a:srgbClr val="000000"/>
              </a:solidFill>
              <a:latin typeface="Arial"/>
            </a:endParaRPr>
          </a:p>
          <a:p>
            <a:pPr algn="ctr">
              <a:lnSpc>
                <a:spcPct val="100000"/>
              </a:lnSpc>
            </a:pPr>
            <a:endParaRPr lang="pt-BR" sz="20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7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99D78470-B763-4CB6-A5C2-9F8342084936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21</a:t>
            </a:fld>
            <a:endParaRPr lang="pt-BR" sz="1500" b="0" strike="noStrike" spc="-1">
              <a:latin typeface="Times New Roman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8" name="TextShape 1"/>
          <p:cNvSpPr txBox="1"/>
          <p:nvPr/>
        </p:nvSpPr>
        <p:spPr>
          <a:xfrm>
            <a:off x="1714320" y="1186920"/>
            <a:ext cx="5715000" cy="26611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marL="457200" indent="-406080" algn="just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4800" b="1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Escuta integral </a:t>
            </a:r>
          </a:p>
          <a:p>
            <a:pPr marL="457200" indent="-406080" algn="just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endParaRPr lang="pt-BR" sz="3600" b="0" strike="noStrike" spc="-1" dirty="0">
              <a:solidFill>
                <a:srgbClr val="000000"/>
              </a:solidFill>
              <a:latin typeface="Arial"/>
            </a:endParaRPr>
          </a:p>
          <a:p>
            <a:pPr marL="457200" indent="-406080" algn="just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2800" b="0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Perceber a vontade de Deus e os caminhos que podemos escolher.</a:t>
            </a:r>
            <a:endParaRPr lang="pt-BR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9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F0901404-DC81-4905-BF07-B235C3B4ADA1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22</a:t>
            </a:fld>
            <a:endParaRPr lang="pt-BR" sz="1500" b="0" strike="noStrike" spc="-1">
              <a:latin typeface="Times New Roman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86616141-2DC8-4638-9F7A-E2FC7D05B52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9" t="5463" r="38107" b="-1334"/>
          <a:stretch/>
        </p:blipFill>
        <p:spPr>
          <a:xfrm>
            <a:off x="6588807" y="724687"/>
            <a:ext cx="1488813" cy="165455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0" name="TextShape 1"/>
          <p:cNvSpPr txBox="1"/>
          <p:nvPr/>
        </p:nvSpPr>
        <p:spPr>
          <a:xfrm>
            <a:off x="1348560" y="943080"/>
            <a:ext cx="6317160" cy="2769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marL="457200" indent="-406080" algn="just">
              <a:lnSpc>
                <a:spcPct val="100000"/>
              </a:lnSpc>
              <a:buClr>
                <a:srgbClr val="AEE25A"/>
              </a:buClr>
              <a:buFont typeface="Nunito SemiBold"/>
              <a:buChar char="✗"/>
            </a:pPr>
            <a:r>
              <a:rPr lang="pt-BR" sz="4000" b="1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“Para escutar o todo é necessário não se perder diante de tudo.” </a:t>
            </a:r>
            <a:endParaRPr lang="pt-BR" sz="4000" b="0" strike="noStrike" spc="-1" dirty="0">
              <a:solidFill>
                <a:srgbClr val="000000"/>
              </a:solidFill>
              <a:latin typeface="Arial"/>
            </a:endParaRPr>
          </a:p>
          <a:p>
            <a:pPr marL="4114800" lvl="8" indent="-406080" algn="r">
              <a:buClr>
                <a:srgbClr val="AEE25A"/>
              </a:buClr>
              <a:buFont typeface="Nunito SemiBold"/>
              <a:buChar char="✗"/>
            </a:pPr>
            <a:r>
              <a:rPr lang="pt-BR" sz="1200" b="0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(TB </a:t>
            </a:r>
            <a:r>
              <a:rPr lang="pt-BR" sz="1200" b="0" strike="noStrike" spc="-1" dirty="0">
                <a:solidFill>
                  <a:srgbClr val="2B3547"/>
                </a:solidFill>
                <a:latin typeface="Nino"/>
                <a:ea typeface="Nunito SemiBold"/>
              </a:rPr>
              <a:t>N</a:t>
            </a:r>
            <a:r>
              <a:rPr lang="pt-BR" sz="1200" b="0" strike="noStrike" spc="-1" dirty="0">
                <a:solidFill>
                  <a:srgbClr val="2B3547"/>
                </a:solidFill>
                <a:latin typeface="Nino"/>
                <a:ea typeface="Calibri"/>
              </a:rPr>
              <a:t>º 31)  </a:t>
            </a:r>
            <a:endParaRPr lang="pt-BR" sz="1200" b="0" strike="noStrike" spc="-1" dirty="0">
              <a:solidFill>
                <a:srgbClr val="000000"/>
              </a:solidFill>
              <a:latin typeface="Arial"/>
            </a:endParaRPr>
          </a:p>
          <a:p>
            <a:pPr algn="ctr">
              <a:lnSpc>
                <a:spcPct val="100000"/>
              </a:lnSpc>
            </a:pPr>
            <a:endParaRPr lang="pt-BR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1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96E0117C-B448-4608-8F96-9873FBA94AC2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23</a:t>
            </a:fld>
            <a:endParaRPr lang="pt-BR" sz="1500" b="0" strike="noStrike" spc="-1">
              <a:latin typeface="Times New Roman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1241B87C-F918-4864-8D42-DAB37769D84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9" t="5463" r="38107" b="-1334"/>
          <a:stretch/>
        </p:blipFill>
        <p:spPr>
          <a:xfrm>
            <a:off x="865896" y="2746921"/>
            <a:ext cx="1557264" cy="173062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TextShape 1"/>
          <p:cNvSpPr txBox="1"/>
          <p:nvPr/>
        </p:nvSpPr>
        <p:spPr>
          <a:xfrm>
            <a:off x="2263140" y="861060"/>
            <a:ext cx="5715000" cy="32145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noAutofit/>
          </a:bodyPr>
          <a:lstStyle/>
          <a:p>
            <a:pPr algn="just">
              <a:lnSpc>
                <a:spcPct val="90000"/>
              </a:lnSpc>
            </a:pPr>
            <a:r>
              <a:rPr lang="pt-BR" sz="4700" b="1" strike="noStrike" spc="-1" dirty="0">
                <a:solidFill>
                  <a:srgbClr val="2B3547"/>
                </a:solidFill>
                <a:latin typeface="Amatic SC"/>
                <a:ea typeface="Amatic SC"/>
              </a:rPr>
              <a:t>Aprender não é só uma capacidade humana, mas a condição da própria humanidade</a:t>
            </a:r>
          </a:p>
          <a:p>
            <a:pPr algn="just">
              <a:lnSpc>
                <a:spcPct val="90000"/>
              </a:lnSpc>
            </a:pPr>
            <a:br>
              <a:rPr dirty="0"/>
            </a:br>
            <a:r>
              <a:rPr lang="pt-BR" dirty="0"/>
              <a:t>                                                                          </a:t>
            </a:r>
            <a:r>
              <a:rPr lang="pt-BR" sz="1200" strike="noStrike" spc="-1" dirty="0">
                <a:solidFill>
                  <a:srgbClr val="2B3547"/>
                </a:solidFill>
                <a:latin typeface="Nino"/>
                <a:ea typeface="Amatic SC"/>
              </a:rPr>
              <a:t>(TB N</a:t>
            </a:r>
            <a:r>
              <a:rPr lang="pt-BR" sz="1200" strike="noStrike" spc="-1" dirty="0">
                <a:solidFill>
                  <a:srgbClr val="2B3547"/>
                </a:solidFill>
                <a:latin typeface="Nino"/>
                <a:ea typeface="Calibri"/>
              </a:rPr>
              <a:t>º</a:t>
            </a:r>
            <a:r>
              <a:rPr lang="pt-BR" sz="1200" strike="noStrike" spc="-1" dirty="0">
                <a:solidFill>
                  <a:srgbClr val="2B3547"/>
                </a:solidFill>
                <a:latin typeface="Nino"/>
                <a:ea typeface="Amatic SC"/>
              </a:rPr>
              <a:t> 34) </a:t>
            </a:r>
            <a:endParaRPr lang="pt-BR" sz="120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1" name="CustomShape 2"/>
          <p:cNvSpPr/>
          <p:nvPr/>
        </p:nvSpPr>
        <p:spPr>
          <a:xfrm>
            <a:off x="1095480" y="663480"/>
            <a:ext cx="823680" cy="1002600"/>
          </a:xfrm>
          <a:custGeom>
            <a:avLst/>
            <a:gdLst/>
            <a:ahLst/>
            <a:cxnLst/>
            <a:rect l="l" t="t" r="r" b="b"/>
            <a:pathLst>
              <a:path w="521117" h="660865">
                <a:moveTo>
                  <a:pt x="286048" y="97336"/>
                </a:moveTo>
                <a:cubicBezTo>
                  <a:pt x="277717" y="92820"/>
                  <a:pt x="269429" y="107049"/>
                  <a:pt x="279471" y="112421"/>
                </a:cubicBezTo>
                <a:cubicBezTo>
                  <a:pt x="287934" y="116871"/>
                  <a:pt x="296199" y="102620"/>
                  <a:pt x="286048" y="97336"/>
                </a:cubicBezTo>
                <a:close/>
                <a:moveTo>
                  <a:pt x="245992" y="93960"/>
                </a:moveTo>
                <a:lnTo>
                  <a:pt x="245992" y="93960"/>
                </a:lnTo>
                <a:cubicBezTo>
                  <a:pt x="222752" y="94377"/>
                  <a:pt x="182411" y="100801"/>
                  <a:pt x="173247" y="138927"/>
                </a:cubicBezTo>
                <a:cubicBezTo>
                  <a:pt x="171953" y="143948"/>
                  <a:pt x="175439" y="146974"/>
                  <a:pt x="180460" y="146996"/>
                </a:cubicBezTo>
                <a:cubicBezTo>
                  <a:pt x="184845" y="147206"/>
                  <a:pt x="188813" y="144347"/>
                  <a:pt x="189975" y="140111"/>
                </a:cubicBezTo>
                <a:cubicBezTo>
                  <a:pt x="196114" y="114503"/>
                  <a:pt x="225690" y="110140"/>
                  <a:pt x="242747" y="109833"/>
                </a:cubicBezTo>
                <a:cubicBezTo>
                  <a:pt x="251846" y="110075"/>
                  <a:pt x="257568" y="94135"/>
                  <a:pt x="245992" y="93894"/>
                </a:cubicBezTo>
                <a:close/>
                <a:moveTo>
                  <a:pt x="123697" y="418641"/>
                </a:moveTo>
                <a:cubicBezTo>
                  <a:pt x="120321" y="418557"/>
                  <a:pt x="117207" y="420474"/>
                  <a:pt x="115761" y="423530"/>
                </a:cubicBezTo>
                <a:cubicBezTo>
                  <a:pt x="94340" y="468256"/>
                  <a:pt x="71912" y="513421"/>
                  <a:pt x="49285" y="557401"/>
                </a:cubicBezTo>
                <a:cubicBezTo>
                  <a:pt x="44396" y="566675"/>
                  <a:pt x="59918" y="571915"/>
                  <a:pt x="64873" y="562663"/>
                </a:cubicBezTo>
                <a:cubicBezTo>
                  <a:pt x="87543" y="518595"/>
                  <a:pt x="109906" y="473584"/>
                  <a:pt x="131305" y="428923"/>
                </a:cubicBezTo>
                <a:cubicBezTo>
                  <a:pt x="134199" y="423179"/>
                  <a:pt x="129485" y="418553"/>
                  <a:pt x="123697" y="418575"/>
                </a:cubicBezTo>
                <a:close/>
                <a:moveTo>
                  <a:pt x="516804" y="178128"/>
                </a:moveTo>
                <a:cubicBezTo>
                  <a:pt x="513252" y="167561"/>
                  <a:pt x="498234" y="174993"/>
                  <a:pt x="501194" y="184114"/>
                </a:cubicBezTo>
                <a:cubicBezTo>
                  <a:pt x="508583" y="207630"/>
                  <a:pt x="504965" y="233231"/>
                  <a:pt x="491328" y="253768"/>
                </a:cubicBezTo>
                <a:cubicBezTo>
                  <a:pt x="487250" y="258964"/>
                  <a:pt x="491328" y="267800"/>
                  <a:pt x="497555" y="267909"/>
                </a:cubicBezTo>
                <a:cubicBezTo>
                  <a:pt x="499813" y="267791"/>
                  <a:pt x="501852" y="266524"/>
                  <a:pt x="502948" y="264555"/>
                </a:cubicBezTo>
                <a:cubicBezTo>
                  <a:pt x="520751" y="238158"/>
                  <a:pt x="525684" y="207463"/>
                  <a:pt x="516804" y="178063"/>
                </a:cubicBezTo>
                <a:close/>
                <a:moveTo>
                  <a:pt x="312226" y="61819"/>
                </a:moveTo>
                <a:cubicBezTo>
                  <a:pt x="311349" y="61534"/>
                  <a:pt x="310275" y="61819"/>
                  <a:pt x="309354" y="61446"/>
                </a:cubicBezTo>
                <a:cubicBezTo>
                  <a:pt x="290017" y="53082"/>
                  <a:pt x="269211" y="48734"/>
                  <a:pt x="248141" y="48664"/>
                </a:cubicBezTo>
                <a:cubicBezTo>
                  <a:pt x="186993" y="47151"/>
                  <a:pt x="132182" y="92096"/>
                  <a:pt x="124311" y="150657"/>
                </a:cubicBezTo>
                <a:cubicBezTo>
                  <a:pt x="120496" y="179159"/>
                  <a:pt x="130713" y="207178"/>
                  <a:pt x="141500" y="233334"/>
                </a:cubicBezTo>
                <a:cubicBezTo>
                  <a:pt x="202560" y="370122"/>
                  <a:pt x="356163" y="325593"/>
                  <a:pt x="387493" y="200667"/>
                </a:cubicBezTo>
                <a:cubicBezTo>
                  <a:pt x="403279" y="142632"/>
                  <a:pt x="373308" y="73636"/>
                  <a:pt x="312226" y="61753"/>
                </a:cubicBezTo>
                <a:close/>
                <a:moveTo>
                  <a:pt x="373352" y="187534"/>
                </a:moveTo>
                <a:cubicBezTo>
                  <a:pt x="350770" y="309698"/>
                  <a:pt x="215495" y="343944"/>
                  <a:pt x="161517" y="236733"/>
                </a:cubicBezTo>
                <a:cubicBezTo>
                  <a:pt x="143144" y="197269"/>
                  <a:pt x="126745" y="146250"/>
                  <a:pt x="163403" y="102050"/>
                </a:cubicBezTo>
                <a:cubicBezTo>
                  <a:pt x="183354" y="77933"/>
                  <a:pt x="213105" y="64778"/>
                  <a:pt x="247154" y="64778"/>
                </a:cubicBezTo>
                <a:cubicBezTo>
                  <a:pt x="267281" y="64873"/>
                  <a:pt x="287145" y="69253"/>
                  <a:pt x="305430" y="77626"/>
                </a:cubicBezTo>
                <a:cubicBezTo>
                  <a:pt x="347810" y="82494"/>
                  <a:pt x="383152" y="128250"/>
                  <a:pt x="373352" y="187468"/>
                </a:cubicBezTo>
                <a:close/>
                <a:moveTo>
                  <a:pt x="451513" y="77955"/>
                </a:moveTo>
                <a:cubicBezTo>
                  <a:pt x="445812" y="78284"/>
                  <a:pt x="439827" y="84664"/>
                  <a:pt x="443007" y="91636"/>
                </a:cubicBezTo>
                <a:cubicBezTo>
                  <a:pt x="477691" y="160808"/>
                  <a:pt x="474446" y="229498"/>
                  <a:pt x="434237" y="275386"/>
                </a:cubicBezTo>
                <a:cubicBezTo>
                  <a:pt x="428909" y="281810"/>
                  <a:pt x="434105" y="288409"/>
                  <a:pt x="440200" y="288716"/>
                </a:cubicBezTo>
                <a:cubicBezTo>
                  <a:pt x="442524" y="288648"/>
                  <a:pt x="444716" y="287558"/>
                  <a:pt x="446164" y="285734"/>
                </a:cubicBezTo>
                <a:cubicBezTo>
                  <a:pt x="491065" y="234409"/>
                  <a:pt x="494946" y="158067"/>
                  <a:pt x="456578" y="81551"/>
                </a:cubicBezTo>
                <a:cubicBezTo>
                  <a:pt x="455766" y="79439"/>
                  <a:pt x="453771" y="78019"/>
                  <a:pt x="451513" y="77955"/>
                </a:cubicBezTo>
                <a:close/>
                <a:moveTo>
                  <a:pt x="341890" y="26630"/>
                </a:moveTo>
                <a:cubicBezTo>
                  <a:pt x="340794" y="26496"/>
                  <a:pt x="339961" y="25553"/>
                  <a:pt x="339961" y="24437"/>
                </a:cubicBezTo>
                <a:cubicBezTo>
                  <a:pt x="339983" y="21456"/>
                  <a:pt x="338273" y="18733"/>
                  <a:pt x="335576" y="17465"/>
                </a:cubicBezTo>
                <a:cubicBezTo>
                  <a:pt x="312665" y="5878"/>
                  <a:pt x="287320" y="-90"/>
                  <a:pt x="261646" y="57"/>
                </a:cubicBezTo>
                <a:cubicBezTo>
                  <a:pt x="174737" y="-2398"/>
                  <a:pt x="88684" y="74601"/>
                  <a:pt x="72108" y="157497"/>
                </a:cubicBezTo>
                <a:cubicBezTo>
                  <a:pt x="59305" y="227853"/>
                  <a:pt x="106662" y="290733"/>
                  <a:pt x="155093" y="328509"/>
                </a:cubicBezTo>
                <a:cubicBezTo>
                  <a:pt x="155948" y="329140"/>
                  <a:pt x="156211" y="330280"/>
                  <a:pt x="155751" y="331228"/>
                </a:cubicBezTo>
                <a:lnTo>
                  <a:pt x="137334" y="368806"/>
                </a:lnTo>
                <a:cubicBezTo>
                  <a:pt x="136063" y="371240"/>
                  <a:pt x="133453" y="369289"/>
                  <a:pt x="131678" y="368587"/>
                </a:cubicBezTo>
                <a:cubicBezTo>
                  <a:pt x="128279" y="366965"/>
                  <a:pt x="124969" y="365101"/>
                  <a:pt x="121220" y="366614"/>
                </a:cubicBezTo>
                <a:cubicBezTo>
                  <a:pt x="117295" y="366044"/>
                  <a:pt x="113327" y="365474"/>
                  <a:pt x="109753" y="370999"/>
                </a:cubicBezTo>
                <a:cubicBezTo>
                  <a:pt x="72744" y="437562"/>
                  <a:pt x="31504" y="513508"/>
                  <a:pt x="2323" y="592437"/>
                </a:cubicBezTo>
                <a:cubicBezTo>
                  <a:pt x="87" y="594542"/>
                  <a:pt x="-615" y="597821"/>
                  <a:pt x="569" y="600658"/>
                </a:cubicBezTo>
                <a:cubicBezTo>
                  <a:pt x="13219" y="632723"/>
                  <a:pt x="42664" y="655071"/>
                  <a:pt x="76954" y="658605"/>
                </a:cubicBezTo>
                <a:cubicBezTo>
                  <a:pt x="79059" y="658877"/>
                  <a:pt x="81207" y="658309"/>
                  <a:pt x="82896" y="657026"/>
                </a:cubicBezTo>
                <a:cubicBezTo>
                  <a:pt x="83356" y="656665"/>
                  <a:pt x="83948" y="656507"/>
                  <a:pt x="84540" y="656588"/>
                </a:cubicBezTo>
                <a:cubicBezTo>
                  <a:pt x="85132" y="656669"/>
                  <a:pt x="85658" y="656985"/>
                  <a:pt x="86009" y="657465"/>
                </a:cubicBezTo>
                <a:cubicBezTo>
                  <a:pt x="87807" y="659666"/>
                  <a:pt x="90525" y="660918"/>
                  <a:pt x="93375" y="660863"/>
                </a:cubicBezTo>
                <a:cubicBezTo>
                  <a:pt x="96708" y="660947"/>
                  <a:pt x="99778" y="659022"/>
                  <a:pt x="101159" y="655974"/>
                </a:cubicBezTo>
                <a:lnTo>
                  <a:pt x="212535" y="414322"/>
                </a:lnTo>
                <a:cubicBezTo>
                  <a:pt x="214026" y="411362"/>
                  <a:pt x="213018" y="409937"/>
                  <a:pt x="212755" y="407393"/>
                </a:cubicBezTo>
                <a:cubicBezTo>
                  <a:pt x="213456" y="404068"/>
                  <a:pt x="211439" y="400777"/>
                  <a:pt x="208150" y="399895"/>
                </a:cubicBezTo>
                <a:cubicBezTo>
                  <a:pt x="206331" y="399259"/>
                  <a:pt x="204511" y="398580"/>
                  <a:pt x="202691" y="397900"/>
                </a:cubicBezTo>
                <a:cubicBezTo>
                  <a:pt x="200871" y="397221"/>
                  <a:pt x="196881" y="396563"/>
                  <a:pt x="198306" y="393515"/>
                </a:cubicBezTo>
                <a:lnTo>
                  <a:pt x="215539" y="361527"/>
                </a:lnTo>
                <a:cubicBezTo>
                  <a:pt x="216022" y="360624"/>
                  <a:pt x="217074" y="360177"/>
                  <a:pt x="218060" y="360453"/>
                </a:cubicBezTo>
                <a:cubicBezTo>
                  <a:pt x="232114" y="364522"/>
                  <a:pt x="246672" y="366612"/>
                  <a:pt x="261296" y="366658"/>
                </a:cubicBezTo>
                <a:cubicBezTo>
                  <a:pt x="437657" y="364575"/>
                  <a:pt x="512244" y="101392"/>
                  <a:pt x="341890" y="26630"/>
                </a:cubicBezTo>
                <a:close/>
                <a:moveTo>
                  <a:pt x="194382" y="414694"/>
                </a:moveTo>
                <a:lnTo>
                  <a:pt x="88420" y="644486"/>
                </a:lnTo>
                <a:cubicBezTo>
                  <a:pt x="87916" y="645586"/>
                  <a:pt x="86623" y="646066"/>
                  <a:pt x="85505" y="645560"/>
                </a:cubicBezTo>
                <a:cubicBezTo>
                  <a:pt x="85219" y="645428"/>
                  <a:pt x="84957" y="645233"/>
                  <a:pt x="84759" y="644990"/>
                </a:cubicBezTo>
                <a:cubicBezTo>
                  <a:pt x="83465" y="643543"/>
                  <a:pt x="81646" y="642668"/>
                  <a:pt x="79694" y="642556"/>
                </a:cubicBezTo>
                <a:cubicBezTo>
                  <a:pt x="53144" y="639574"/>
                  <a:pt x="27536" y="622671"/>
                  <a:pt x="18306" y="597150"/>
                </a:cubicBezTo>
                <a:cubicBezTo>
                  <a:pt x="46523" y="522677"/>
                  <a:pt x="81558" y="450964"/>
                  <a:pt x="122951" y="382926"/>
                </a:cubicBezTo>
                <a:cubicBezTo>
                  <a:pt x="145731" y="392836"/>
                  <a:pt x="169125" y="403118"/>
                  <a:pt x="193110" y="411713"/>
                </a:cubicBezTo>
                <a:cubicBezTo>
                  <a:pt x="194250" y="412123"/>
                  <a:pt x="194842" y="413379"/>
                  <a:pt x="194426" y="414517"/>
                </a:cubicBezTo>
                <a:cubicBezTo>
                  <a:pt x="194404" y="414593"/>
                  <a:pt x="194382" y="414666"/>
                  <a:pt x="194338" y="414738"/>
                </a:cubicBezTo>
                <a:close/>
                <a:moveTo>
                  <a:pt x="199600" y="356638"/>
                </a:moveTo>
                <a:lnTo>
                  <a:pt x="182609" y="388144"/>
                </a:lnTo>
                <a:cubicBezTo>
                  <a:pt x="182082" y="389117"/>
                  <a:pt x="180920" y="389549"/>
                  <a:pt x="179890" y="389152"/>
                </a:cubicBezTo>
                <a:cubicBezTo>
                  <a:pt x="170923" y="385622"/>
                  <a:pt x="162043" y="381983"/>
                  <a:pt x="153471" y="378190"/>
                </a:cubicBezTo>
                <a:cubicBezTo>
                  <a:pt x="152353" y="377710"/>
                  <a:pt x="151848" y="376418"/>
                  <a:pt x="152331" y="375307"/>
                </a:cubicBezTo>
                <a:cubicBezTo>
                  <a:pt x="152353" y="375274"/>
                  <a:pt x="152353" y="375241"/>
                  <a:pt x="152375" y="375208"/>
                </a:cubicBezTo>
                <a:lnTo>
                  <a:pt x="169147" y="340984"/>
                </a:lnTo>
                <a:cubicBezTo>
                  <a:pt x="169673" y="339894"/>
                  <a:pt x="170988" y="339436"/>
                  <a:pt x="172085" y="339962"/>
                </a:cubicBezTo>
                <a:cubicBezTo>
                  <a:pt x="172129" y="339993"/>
                  <a:pt x="172194" y="340026"/>
                  <a:pt x="172260" y="340063"/>
                </a:cubicBezTo>
                <a:cubicBezTo>
                  <a:pt x="180679" y="345183"/>
                  <a:pt x="189471" y="349662"/>
                  <a:pt x="198569" y="353459"/>
                </a:cubicBezTo>
                <a:cubicBezTo>
                  <a:pt x="199687" y="353928"/>
                  <a:pt x="200213" y="355213"/>
                  <a:pt x="199753" y="356329"/>
                </a:cubicBezTo>
                <a:cubicBezTo>
                  <a:pt x="199687" y="356452"/>
                  <a:pt x="199622" y="356570"/>
                  <a:pt x="199556" y="356682"/>
                </a:cubicBezTo>
                <a:close/>
                <a:moveTo>
                  <a:pt x="420227" y="199439"/>
                </a:moveTo>
                <a:cubicBezTo>
                  <a:pt x="409550" y="280560"/>
                  <a:pt x="343206" y="348416"/>
                  <a:pt x="264036" y="348526"/>
                </a:cubicBezTo>
                <a:cubicBezTo>
                  <a:pt x="189712" y="352472"/>
                  <a:pt x="91731" y="264730"/>
                  <a:pt x="87193" y="184640"/>
                </a:cubicBezTo>
                <a:cubicBezTo>
                  <a:pt x="84189" y="141580"/>
                  <a:pt x="113129" y="100318"/>
                  <a:pt x="125714" y="84576"/>
                </a:cubicBezTo>
                <a:cubicBezTo>
                  <a:pt x="174211" y="22793"/>
                  <a:pt x="259169" y="-644"/>
                  <a:pt x="328012" y="34523"/>
                </a:cubicBezTo>
                <a:cubicBezTo>
                  <a:pt x="329020" y="34770"/>
                  <a:pt x="329700" y="35682"/>
                  <a:pt x="329678" y="36715"/>
                </a:cubicBezTo>
                <a:cubicBezTo>
                  <a:pt x="329459" y="39756"/>
                  <a:pt x="331300" y="42567"/>
                  <a:pt x="334173" y="43599"/>
                </a:cubicBezTo>
                <a:cubicBezTo>
                  <a:pt x="393501" y="67914"/>
                  <a:pt x="428887" y="131999"/>
                  <a:pt x="420183" y="199483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1C9BC57C-5A46-43B1-AC75-6345D90E78A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9" t="5463" r="38107" b="-1334"/>
          <a:stretch/>
        </p:blipFill>
        <p:spPr>
          <a:xfrm>
            <a:off x="1315380" y="1096957"/>
            <a:ext cx="823680" cy="91537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92DC6A00-1C8F-4BCA-B590-F713C78257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0109247"/>
              </p:ext>
            </p:extLst>
          </p:nvPr>
        </p:nvGraphicFramePr>
        <p:xfrm>
          <a:off x="580020" y="3018540"/>
          <a:ext cx="3260880" cy="13726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84" name="CustomShape 3"/>
          <p:cNvSpPr/>
          <p:nvPr/>
        </p:nvSpPr>
        <p:spPr>
          <a:xfrm>
            <a:off x="6161760" y="1376640"/>
            <a:ext cx="425880" cy="414000"/>
          </a:xfrm>
          <a:custGeom>
            <a:avLst/>
            <a:gdLst/>
            <a:ahLst/>
            <a:cxnLst/>
            <a:rect l="l" t="t" r="r" b="b"/>
            <a:pathLst>
              <a:path w="15501" h="15063">
                <a:moveTo>
                  <a:pt x="7957" y="925"/>
                </a:moveTo>
                <a:lnTo>
                  <a:pt x="8249" y="1533"/>
                </a:lnTo>
                <a:lnTo>
                  <a:pt x="8103" y="1606"/>
                </a:lnTo>
                <a:lnTo>
                  <a:pt x="7957" y="1704"/>
                </a:lnTo>
                <a:lnTo>
                  <a:pt x="7933" y="1752"/>
                </a:lnTo>
                <a:lnTo>
                  <a:pt x="7933" y="1339"/>
                </a:lnTo>
                <a:lnTo>
                  <a:pt x="7957" y="925"/>
                </a:lnTo>
                <a:close/>
                <a:moveTo>
                  <a:pt x="8371" y="1801"/>
                </a:moveTo>
                <a:lnTo>
                  <a:pt x="8492" y="2020"/>
                </a:lnTo>
                <a:lnTo>
                  <a:pt x="8346" y="2117"/>
                </a:lnTo>
                <a:lnTo>
                  <a:pt x="8200" y="2215"/>
                </a:lnTo>
                <a:lnTo>
                  <a:pt x="8079" y="2288"/>
                </a:lnTo>
                <a:lnTo>
                  <a:pt x="7957" y="2409"/>
                </a:lnTo>
                <a:lnTo>
                  <a:pt x="7933" y="2069"/>
                </a:lnTo>
                <a:lnTo>
                  <a:pt x="8127" y="1971"/>
                </a:lnTo>
                <a:lnTo>
                  <a:pt x="8249" y="1898"/>
                </a:lnTo>
                <a:lnTo>
                  <a:pt x="8371" y="1801"/>
                </a:lnTo>
                <a:close/>
                <a:moveTo>
                  <a:pt x="8663" y="2336"/>
                </a:moveTo>
                <a:lnTo>
                  <a:pt x="8784" y="2628"/>
                </a:lnTo>
                <a:lnTo>
                  <a:pt x="8687" y="2653"/>
                </a:lnTo>
                <a:lnTo>
                  <a:pt x="8590" y="2726"/>
                </a:lnTo>
                <a:lnTo>
                  <a:pt x="8419" y="2847"/>
                </a:lnTo>
                <a:lnTo>
                  <a:pt x="8225" y="2993"/>
                </a:lnTo>
                <a:lnTo>
                  <a:pt x="8054" y="3164"/>
                </a:lnTo>
                <a:lnTo>
                  <a:pt x="8006" y="2750"/>
                </a:lnTo>
                <a:lnTo>
                  <a:pt x="8176" y="2653"/>
                </a:lnTo>
                <a:lnTo>
                  <a:pt x="8322" y="2531"/>
                </a:lnTo>
                <a:lnTo>
                  <a:pt x="8565" y="2385"/>
                </a:lnTo>
                <a:lnTo>
                  <a:pt x="8663" y="2336"/>
                </a:lnTo>
                <a:close/>
                <a:moveTo>
                  <a:pt x="8979" y="2945"/>
                </a:moveTo>
                <a:lnTo>
                  <a:pt x="8979" y="2969"/>
                </a:lnTo>
                <a:lnTo>
                  <a:pt x="9076" y="3164"/>
                </a:lnTo>
                <a:lnTo>
                  <a:pt x="8857" y="3285"/>
                </a:lnTo>
                <a:lnTo>
                  <a:pt x="8663" y="3431"/>
                </a:lnTo>
                <a:lnTo>
                  <a:pt x="8371" y="3626"/>
                </a:lnTo>
                <a:lnTo>
                  <a:pt x="8079" y="3821"/>
                </a:lnTo>
                <a:lnTo>
                  <a:pt x="8054" y="3504"/>
                </a:lnTo>
                <a:lnTo>
                  <a:pt x="8200" y="3456"/>
                </a:lnTo>
                <a:lnTo>
                  <a:pt x="8322" y="3383"/>
                </a:lnTo>
                <a:lnTo>
                  <a:pt x="8541" y="3212"/>
                </a:lnTo>
                <a:lnTo>
                  <a:pt x="8833" y="3018"/>
                </a:lnTo>
                <a:lnTo>
                  <a:pt x="8979" y="2945"/>
                </a:lnTo>
                <a:close/>
                <a:moveTo>
                  <a:pt x="9271" y="3529"/>
                </a:moveTo>
                <a:lnTo>
                  <a:pt x="9393" y="3796"/>
                </a:lnTo>
                <a:lnTo>
                  <a:pt x="8736" y="4186"/>
                </a:lnTo>
                <a:lnTo>
                  <a:pt x="8419" y="4380"/>
                </a:lnTo>
                <a:lnTo>
                  <a:pt x="8249" y="4478"/>
                </a:lnTo>
                <a:lnTo>
                  <a:pt x="8103" y="4599"/>
                </a:lnTo>
                <a:lnTo>
                  <a:pt x="8079" y="4113"/>
                </a:lnTo>
                <a:lnTo>
                  <a:pt x="8225" y="4088"/>
                </a:lnTo>
                <a:lnTo>
                  <a:pt x="8371" y="4040"/>
                </a:lnTo>
                <a:lnTo>
                  <a:pt x="8663" y="3894"/>
                </a:lnTo>
                <a:lnTo>
                  <a:pt x="9052" y="3650"/>
                </a:lnTo>
                <a:lnTo>
                  <a:pt x="9271" y="3529"/>
                </a:lnTo>
                <a:close/>
                <a:moveTo>
                  <a:pt x="9587" y="4186"/>
                </a:moveTo>
                <a:lnTo>
                  <a:pt x="9660" y="4332"/>
                </a:lnTo>
                <a:lnTo>
                  <a:pt x="9490" y="4429"/>
                </a:lnTo>
                <a:lnTo>
                  <a:pt x="9344" y="4551"/>
                </a:lnTo>
                <a:lnTo>
                  <a:pt x="9052" y="4770"/>
                </a:lnTo>
                <a:lnTo>
                  <a:pt x="8809" y="4916"/>
                </a:lnTo>
                <a:lnTo>
                  <a:pt x="8590" y="5110"/>
                </a:lnTo>
                <a:lnTo>
                  <a:pt x="8371" y="5305"/>
                </a:lnTo>
                <a:lnTo>
                  <a:pt x="8176" y="5524"/>
                </a:lnTo>
                <a:lnTo>
                  <a:pt x="8127" y="4794"/>
                </a:lnTo>
                <a:lnTo>
                  <a:pt x="8322" y="4794"/>
                </a:lnTo>
                <a:lnTo>
                  <a:pt x="8492" y="4721"/>
                </a:lnTo>
                <a:lnTo>
                  <a:pt x="8833" y="4575"/>
                </a:lnTo>
                <a:lnTo>
                  <a:pt x="9222" y="4380"/>
                </a:lnTo>
                <a:lnTo>
                  <a:pt x="9587" y="4186"/>
                </a:lnTo>
                <a:close/>
                <a:moveTo>
                  <a:pt x="14965" y="5938"/>
                </a:moveTo>
                <a:lnTo>
                  <a:pt x="14795" y="6059"/>
                </a:lnTo>
                <a:lnTo>
                  <a:pt x="14649" y="6205"/>
                </a:lnTo>
                <a:lnTo>
                  <a:pt x="14576" y="6181"/>
                </a:lnTo>
                <a:lnTo>
                  <a:pt x="14332" y="6157"/>
                </a:lnTo>
                <a:lnTo>
                  <a:pt x="14965" y="5938"/>
                </a:lnTo>
                <a:close/>
                <a:moveTo>
                  <a:pt x="2190" y="5840"/>
                </a:moveTo>
                <a:lnTo>
                  <a:pt x="2093" y="5986"/>
                </a:lnTo>
                <a:lnTo>
                  <a:pt x="2044" y="6132"/>
                </a:lnTo>
                <a:lnTo>
                  <a:pt x="2044" y="6181"/>
                </a:lnTo>
                <a:lnTo>
                  <a:pt x="2044" y="6254"/>
                </a:lnTo>
                <a:lnTo>
                  <a:pt x="1874" y="6181"/>
                </a:lnTo>
                <a:lnTo>
                  <a:pt x="1679" y="6108"/>
                </a:lnTo>
                <a:lnTo>
                  <a:pt x="1266" y="5962"/>
                </a:lnTo>
                <a:lnTo>
                  <a:pt x="2190" y="5840"/>
                </a:lnTo>
                <a:close/>
                <a:moveTo>
                  <a:pt x="3018" y="5743"/>
                </a:moveTo>
                <a:lnTo>
                  <a:pt x="2677" y="6132"/>
                </a:lnTo>
                <a:lnTo>
                  <a:pt x="2555" y="6302"/>
                </a:lnTo>
                <a:lnTo>
                  <a:pt x="2288" y="6278"/>
                </a:lnTo>
                <a:lnTo>
                  <a:pt x="2312" y="6254"/>
                </a:lnTo>
                <a:lnTo>
                  <a:pt x="2409" y="6181"/>
                </a:lnTo>
                <a:lnTo>
                  <a:pt x="2482" y="6059"/>
                </a:lnTo>
                <a:lnTo>
                  <a:pt x="2604" y="5938"/>
                </a:lnTo>
                <a:lnTo>
                  <a:pt x="2750" y="5816"/>
                </a:lnTo>
                <a:lnTo>
                  <a:pt x="2823" y="5767"/>
                </a:lnTo>
                <a:lnTo>
                  <a:pt x="3018" y="5743"/>
                </a:lnTo>
                <a:close/>
                <a:moveTo>
                  <a:pt x="9879" y="4672"/>
                </a:moveTo>
                <a:lnTo>
                  <a:pt x="9977" y="4818"/>
                </a:lnTo>
                <a:lnTo>
                  <a:pt x="9952" y="4818"/>
                </a:lnTo>
                <a:lnTo>
                  <a:pt x="9733" y="5062"/>
                </a:lnTo>
                <a:lnTo>
                  <a:pt x="9490" y="5281"/>
                </a:lnTo>
                <a:lnTo>
                  <a:pt x="8979" y="5719"/>
                </a:lnTo>
                <a:lnTo>
                  <a:pt x="8590" y="6035"/>
                </a:lnTo>
                <a:lnTo>
                  <a:pt x="8395" y="6181"/>
                </a:lnTo>
                <a:lnTo>
                  <a:pt x="8200" y="6351"/>
                </a:lnTo>
                <a:lnTo>
                  <a:pt x="8176" y="5694"/>
                </a:lnTo>
                <a:lnTo>
                  <a:pt x="8468" y="5573"/>
                </a:lnTo>
                <a:lnTo>
                  <a:pt x="8736" y="5402"/>
                </a:lnTo>
                <a:lnTo>
                  <a:pt x="9247" y="5086"/>
                </a:lnTo>
                <a:lnTo>
                  <a:pt x="9539" y="4916"/>
                </a:lnTo>
                <a:lnTo>
                  <a:pt x="9709" y="4794"/>
                </a:lnTo>
                <a:lnTo>
                  <a:pt x="9879" y="4672"/>
                </a:lnTo>
                <a:close/>
                <a:moveTo>
                  <a:pt x="3967" y="5597"/>
                </a:moveTo>
                <a:lnTo>
                  <a:pt x="3869" y="5719"/>
                </a:lnTo>
                <a:lnTo>
                  <a:pt x="3723" y="5986"/>
                </a:lnTo>
                <a:lnTo>
                  <a:pt x="3553" y="6229"/>
                </a:lnTo>
                <a:lnTo>
                  <a:pt x="3504" y="6327"/>
                </a:lnTo>
                <a:lnTo>
                  <a:pt x="3456" y="6424"/>
                </a:lnTo>
                <a:lnTo>
                  <a:pt x="3164" y="6375"/>
                </a:lnTo>
                <a:lnTo>
                  <a:pt x="2920" y="6327"/>
                </a:lnTo>
                <a:lnTo>
                  <a:pt x="3066" y="6181"/>
                </a:lnTo>
                <a:lnTo>
                  <a:pt x="3431" y="5792"/>
                </a:lnTo>
                <a:lnTo>
                  <a:pt x="3602" y="5646"/>
                </a:lnTo>
                <a:lnTo>
                  <a:pt x="3967" y="5597"/>
                </a:lnTo>
                <a:close/>
                <a:moveTo>
                  <a:pt x="5110" y="5354"/>
                </a:moveTo>
                <a:lnTo>
                  <a:pt x="4989" y="5475"/>
                </a:lnTo>
                <a:lnTo>
                  <a:pt x="4867" y="5597"/>
                </a:lnTo>
                <a:lnTo>
                  <a:pt x="4648" y="5865"/>
                </a:lnTo>
                <a:lnTo>
                  <a:pt x="4380" y="6205"/>
                </a:lnTo>
                <a:lnTo>
                  <a:pt x="4234" y="6400"/>
                </a:lnTo>
                <a:lnTo>
                  <a:pt x="4113" y="6594"/>
                </a:lnTo>
                <a:lnTo>
                  <a:pt x="3723" y="6497"/>
                </a:lnTo>
                <a:lnTo>
                  <a:pt x="3821" y="6400"/>
                </a:lnTo>
                <a:lnTo>
                  <a:pt x="3869" y="6278"/>
                </a:lnTo>
                <a:lnTo>
                  <a:pt x="3991" y="6084"/>
                </a:lnTo>
                <a:lnTo>
                  <a:pt x="4137" y="5865"/>
                </a:lnTo>
                <a:lnTo>
                  <a:pt x="4307" y="5694"/>
                </a:lnTo>
                <a:lnTo>
                  <a:pt x="4405" y="5597"/>
                </a:lnTo>
                <a:lnTo>
                  <a:pt x="4526" y="5500"/>
                </a:lnTo>
                <a:lnTo>
                  <a:pt x="5110" y="5354"/>
                </a:lnTo>
                <a:close/>
                <a:moveTo>
                  <a:pt x="14065" y="6254"/>
                </a:moveTo>
                <a:lnTo>
                  <a:pt x="14138" y="6327"/>
                </a:lnTo>
                <a:lnTo>
                  <a:pt x="14235" y="6375"/>
                </a:lnTo>
                <a:lnTo>
                  <a:pt x="14430" y="6448"/>
                </a:lnTo>
                <a:lnTo>
                  <a:pt x="14186" y="6740"/>
                </a:lnTo>
                <a:lnTo>
                  <a:pt x="14016" y="6643"/>
                </a:lnTo>
                <a:lnTo>
                  <a:pt x="13846" y="6546"/>
                </a:lnTo>
                <a:lnTo>
                  <a:pt x="13675" y="6497"/>
                </a:lnTo>
                <a:lnTo>
                  <a:pt x="13481" y="6448"/>
                </a:lnTo>
                <a:lnTo>
                  <a:pt x="14065" y="6254"/>
                </a:lnTo>
                <a:close/>
                <a:moveTo>
                  <a:pt x="5573" y="5451"/>
                </a:moveTo>
                <a:lnTo>
                  <a:pt x="5719" y="5621"/>
                </a:lnTo>
                <a:lnTo>
                  <a:pt x="5840" y="5767"/>
                </a:lnTo>
                <a:lnTo>
                  <a:pt x="5816" y="5767"/>
                </a:lnTo>
                <a:lnTo>
                  <a:pt x="5670" y="5840"/>
                </a:lnTo>
                <a:lnTo>
                  <a:pt x="5548" y="5962"/>
                </a:lnTo>
                <a:lnTo>
                  <a:pt x="5354" y="6205"/>
                </a:lnTo>
                <a:lnTo>
                  <a:pt x="5110" y="6473"/>
                </a:lnTo>
                <a:lnTo>
                  <a:pt x="4989" y="6619"/>
                </a:lnTo>
                <a:lnTo>
                  <a:pt x="4916" y="6765"/>
                </a:lnTo>
                <a:lnTo>
                  <a:pt x="4429" y="6667"/>
                </a:lnTo>
                <a:lnTo>
                  <a:pt x="4551" y="6546"/>
                </a:lnTo>
                <a:lnTo>
                  <a:pt x="4648" y="6424"/>
                </a:lnTo>
                <a:lnTo>
                  <a:pt x="4843" y="6157"/>
                </a:lnTo>
                <a:lnTo>
                  <a:pt x="5159" y="5816"/>
                </a:lnTo>
                <a:lnTo>
                  <a:pt x="5354" y="5646"/>
                </a:lnTo>
                <a:lnTo>
                  <a:pt x="5475" y="5548"/>
                </a:lnTo>
                <a:lnTo>
                  <a:pt x="5548" y="5451"/>
                </a:lnTo>
                <a:close/>
                <a:moveTo>
                  <a:pt x="6035" y="5962"/>
                </a:moveTo>
                <a:lnTo>
                  <a:pt x="6278" y="6254"/>
                </a:lnTo>
                <a:lnTo>
                  <a:pt x="6157" y="6424"/>
                </a:lnTo>
                <a:lnTo>
                  <a:pt x="6011" y="6643"/>
                </a:lnTo>
                <a:lnTo>
                  <a:pt x="5889" y="6862"/>
                </a:lnTo>
                <a:lnTo>
                  <a:pt x="5840" y="6935"/>
                </a:lnTo>
                <a:lnTo>
                  <a:pt x="5840" y="7008"/>
                </a:lnTo>
                <a:lnTo>
                  <a:pt x="5232" y="6838"/>
                </a:lnTo>
                <a:lnTo>
                  <a:pt x="5402" y="6692"/>
                </a:lnTo>
                <a:lnTo>
                  <a:pt x="5548" y="6546"/>
                </a:lnTo>
                <a:lnTo>
                  <a:pt x="5767" y="6278"/>
                </a:lnTo>
                <a:lnTo>
                  <a:pt x="5889" y="6157"/>
                </a:lnTo>
                <a:lnTo>
                  <a:pt x="6011" y="6011"/>
                </a:lnTo>
                <a:lnTo>
                  <a:pt x="6035" y="5962"/>
                </a:lnTo>
                <a:close/>
                <a:moveTo>
                  <a:pt x="7519" y="925"/>
                </a:moveTo>
                <a:lnTo>
                  <a:pt x="7470" y="1120"/>
                </a:lnTo>
                <a:lnTo>
                  <a:pt x="7470" y="1314"/>
                </a:lnTo>
                <a:lnTo>
                  <a:pt x="7470" y="1704"/>
                </a:lnTo>
                <a:lnTo>
                  <a:pt x="7495" y="2093"/>
                </a:lnTo>
                <a:lnTo>
                  <a:pt x="7519" y="2482"/>
                </a:lnTo>
                <a:lnTo>
                  <a:pt x="7592" y="3285"/>
                </a:lnTo>
                <a:lnTo>
                  <a:pt x="7665" y="4234"/>
                </a:lnTo>
                <a:lnTo>
                  <a:pt x="7714" y="5183"/>
                </a:lnTo>
                <a:lnTo>
                  <a:pt x="7714" y="6132"/>
                </a:lnTo>
                <a:lnTo>
                  <a:pt x="7714" y="7081"/>
                </a:lnTo>
                <a:lnTo>
                  <a:pt x="7519" y="6886"/>
                </a:lnTo>
                <a:lnTo>
                  <a:pt x="7324" y="6716"/>
                </a:lnTo>
                <a:lnTo>
                  <a:pt x="7032" y="6473"/>
                </a:lnTo>
                <a:lnTo>
                  <a:pt x="6522" y="5913"/>
                </a:lnTo>
                <a:lnTo>
                  <a:pt x="5986" y="5354"/>
                </a:lnTo>
                <a:lnTo>
                  <a:pt x="5792" y="5159"/>
                </a:lnTo>
                <a:lnTo>
                  <a:pt x="5670" y="5086"/>
                </a:lnTo>
                <a:lnTo>
                  <a:pt x="5573" y="5013"/>
                </a:lnTo>
                <a:lnTo>
                  <a:pt x="5719" y="4721"/>
                </a:lnTo>
                <a:lnTo>
                  <a:pt x="5913" y="4453"/>
                </a:lnTo>
                <a:lnTo>
                  <a:pt x="6278" y="3894"/>
                </a:lnTo>
                <a:lnTo>
                  <a:pt x="6449" y="3626"/>
                </a:lnTo>
                <a:lnTo>
                  <a:pt x="6570" y="3358"/>
                </a:lnTo>
                <a:lnTo>
                  <a:pt x="6692" y="3066"/>
                </a:lnTo>
                <a:lnTo>
                  <a:pt x="6789" y="2774"/>
                </a:lnTo>
                <a:lnTo>
                  <a:pt x="6984" y="2166"/>
                </a:lnTo>
                <a:lnTo>
                  <a:pt x="7203" y="1558"/>
                </a:lnTo>
                <a:lnTo>
                  <a:pt x="7349" y="1217"/>
                </a:lnTo>
                <a:lnTo>
                  <a:pt x="7519" y="925"/>
                </a:lnTo>
                <a:close/>
                <a:moveTo>
                  <a:pt x="6497" y="6497"/>
                </a:moveTo>
                <a:lnTo>
                  <a:pt x="6522" y="6521"/>
                </a:lnTo>
                <a:lnTo>
                  <a:pt x="6716" y="6716"/>
                </a:lnTo>
                <a:lnTo>
                  <a:pt x="6643" y="6765"/>
                </a:lnTo>
                <a:lnTo>
                  <a:pt x="6595" y="6789"/>
                </a:lnTo>
                <a:lnTo>
                  <a:pt x="6497" y="6911"/>
                </a:lnTo>
                <a:lnTo>
                  <a:pt x="6400" y="7008"/>
                </a:lnTo>
                <a:lnTo>
                  <a:pt x="6327" y="7130"/>
                </a:lnTo>
                <a:lnTo>
                  <a:pt x="5986" y="7057"/>
                </a:lnTo>
                <a:lnTo>
                  <a:pt x="6059" y="7008"/>
                </a:lnTo>
                <a:lnTo>
                  <a:pt x="6132" y="6935"/>
                </a:lnTo>
                <a:lnTo>
                  <a:pt x="6254" y="6838"/>
                </a:lnTo>
                <a:lnTo>
                  <a:pt x="6497" y="6497"/>
                </a:lnTo>
                <a:close/>
                <a:moveTo>
                  <a:pt x="13286" y="6521"/>
                </a:moveTo>
                <a:lnTo>
                  <a:pt x="13627" y="6740"/>
                </a:lnTo>
                <a:lnTo>
                  <a:pt x="13967" y="6935"/>
                </a:lnTo>
                <a:lnTo>
                  <a:pt x="13870" y="7032"/>
                </a:lnTo>
                <a:lnTo>
                  <a:pt x="13724" y="7178"/>
                </a:lnTo>
                <a:lnTo>
                  <a:pt x="13578" y="7081"/>
                </a:lnTo>
                <a:lnTo>
                  <a:pt x="13456" y="7032"/>
                </a:lnTo>
                <a:lnTo>
                  <a:pt x="13164" y="6911"/>
                </a:lnTo>
                <a:lnTo>
                  <a:pt x="12897" y="6813"/>
                </a:lnTo>
                <a:lnTo>
                  <a:pt x="12653" y="6716"/>
                </a:lnTo>
                <a:lnTo>
                  <a:pt x="13286" y="6521"/>
                </a:lnTo>
                <a:close/>
                <a:moveTo>
                  <a:pt x="10171" y="5062"/>
                </a:moveTo>
                <a:lnTo>
                  <a:pt x="10220" y="5135"/>
                </a:lnTo>
                <a:lnTo>
                  <a:pt x="10196" y="5159"/>
                </a:lnTo>
                <a:lnTo>
                  <a:pt x="9587" y="5816"/>
                </a:lnTo>
                <a:lnTo>
                  <a:pt x="9003" y="6521"/>
                </a:lnTo>
                <a:lnTo>
                  <a:pt x="8809" y="6716"/>
                </a:lnTo>
                <a:lnTo>
                  <a:pt x="8590" y="6935"/>
                </a:lnTo>
                <a:lnTo>
                  <a:pt x="8371" y="7154"/>
                </a:lnTo>
                <a:lnTo>
                  <a:pt x="8152" y="7373"/>
                </a:lnTo>
                <a:lnTo>
                  <a:pt x="8200" y="6740"/>
                </a:lnTo>
                <a:lnTo>
                  <a:pt x="8444" y="6570"/>
                </a:lnTo>
                <a:lnTo>
                  <a:pt x="8663" y="6400"/>
                </a:lnTo>
                <a:lnTo>
                  <a:pt x="9101" y="6035"/>
                </a:lnTo>
                <a:lnTo>
                  <a:pt x="9660" y="5573"/>
                </a:lnTo>
                <a:lnTo>
                  <a:pt x="9928" y="5329"/>
                </a:lnTo>
                <a:lnTo>
                  <a:pt x="10171" y="5062"/>
                </a:lnTo>
                <a:close/>
                <a:moveTo>
                  <a:pt x="10488" y="5329"/>
                </a:moveTo>
                <a:lnTo>
                  <a:pt x="10731" y="5427"/>
                </a:lnTo>
                <a:lnTo>
                  <a:pt x="10999" y="5500"/>
                </a:lnTo>
                <a:lnTo>
                  <a:pt x="11510" y="5597"/>
                </a:lnTo>
                <a:lnTo>
                  <a:pt x="11850" y="5670"/>
                </a:lnTo>
                <a:lnTo>
                  <a:pt x="12167" y="5694"/>
                </a:lnTo>
                <a:lnTo>
                  <a:pt x="12824" y="5719"/>
                </a:lnTo>
                <a:lnTo>
                  <a:pt x="13529" y="5743"/>
                </a:lnTo>
                <a:lnTo>
                  <a:pt x="14235" y="5792"/>
                </a:lnTo>
                <a:lnTo>
                  <a:pt x="13505" y="6059"/>
                </a:lnTo>
                <a:lnTo>
                  <a:pt x="12799" y="6278"/>
                </a:lnTo>
                <a:lnTo>
                  <a:pt x="11339" y="6692"/>
                </a:lnTo>
                <a:lnTo>
                  <a:pt x="9612" y="7130"/>
                </a:lnTo>
                <a:lnTo>
                  <a:pt x="9149" y="7251"/>
                </a:lnTo>
                <a:lnTo>
                  <a:pt x="8663" y="7373"/>
                </a:lnTo>
                <a:lnTo>
                  <a:pt x="9101" y="6862"/>
                </a:lnTo>
                <a:lnTo>
                  <a:pt x="9758" y="6132"/>
                </a:lnTo>
                <a:lnTo>
                  <a:pt x="10098" y="5767"/>
                </a:lnTo>
                <a:lnTo>
                  <a:pt x="10439" y="5402"/>
                </a:lnTo>
                <a:lnTo>
                  <a:pt x="10488" y="5329"/>
                </a:lnTo>
                <a:close/>
                <a:moveTo>
                  <a:pt x="6862" y="6886"/>
                </a:moveTo>
                <a:lnTo>
                  <a:pt x="7349" y="7422"/>
                </a:lnTo>
                <a:lnTo>
                  <a:pt x="7349" y="7422"/>
                </a:lnTo>
                <a:lnTo>
                  <a:pt x="6570" y="7203"/>
                </a:lnTo>
                <a:lnTo>
                  <a:pt x="6668" y="7105"/>
                </a:lnTo>
                <a:lnTo>
                  <a:pt x="6765" y="7008"/>
                </a:lnTo>
                <a:lnTo>
                  <a:pt x="6862" y="6911"/>
                </a:lnTo>
                <a:lnTo>
                  <a:pt x="6862" y="6886"/>
                </a:lnTo>
                <a:close/>
                <a:moveTo>
                  <a:pt x="12386" y="6789"/>
                </a:moveTo>
                <a:lnTo>
                  <a:pt x="12483" y="6911"/>
                </a:lnTo>
                <a:lnTo>
                  <a:pt x="12629" y="7008"/>
                </a:lnTo>
                <a:lnTo>
                  <a:pt x="12775" y="7105"/>
                </a:lnTo>
                <a:lnTo>
                  <a:pt x="12921" y="7178"/>
                </a:lnTo>
                <a:lnTo>
                  <a:pt x="13432" y="7422"/>
                </a:lnTo>
                <a:lnTo>
                  <a:pt x="13140" y="7641"/>
                </a:lnTo>
                <a:lnTo>
                  <a:pt x="12970" y="7543"/>
                </a:lnTo>
                <a:lnTo>
                  <a:pt x="12799" y="7470"/>
                </a:lnTo>
                <a:lnTo>
                  <a:pt x="12483" y="7349"/>
                </a:lnTo>
                <a:lnTo>
                  <a:pt x="12045" y="7154"/>
                </a:lnTo>
                <a:lnTo>
                  <a:pt x="11826" y="7057"/>
                </a:lnTo>
                <a:lnTo>
                  <a:pt x="11607" y="7008"/>
                </a:lnTo>
                <a:lnTo>
                  <a:pt x="12386" y="6789"/>
                </a:lnTo>
                <a:close/>
                <a:moveTo>
                  <a:pt x="11461" y="7057"/>
                </a:moveTo>
                <a:lnTo>
                  <a:pt x="11534" y="7154"/>
                </a:lnTo>
                <a:lnTo>
                  <a:pt x="11631" y="7251"/>
                </a:lnTo>
                <a:lnTo>
                  <a:pt x="11850" y="7397"/>
                </a:lnTo>
                <a:lnTo>
                  <a:pt x="12069" y="7519"/>
                </a:lnTo>
                <a:lnTo>
                  <a:pt x="12313" y="7641"/>
                </a:lnTo>
                <a:lnTo>
                  <a:pt x="12532" y="7762"/>
                </a:lnTo>
                <a:lnTo>
                  <a:pt x="12799" y="7908"/>
                </a:lnTo>
                <a:lnTo>
                  <a:pt x="12483" y="8152"/>
                </a:lnTo>
                <a:lnTo>
                  <a:pt x="12410" y="8054"/>
                </a:lnTo>
                <a:lnTo>
                  <a:pt x="12337" y="7981"/>
                </a:lnTo>
                <a:lnTo>
                  <a:pt x="12240" y="7908"/>
                </a:lnTo>
                <a:lnTo>
                  <a:pt x="12118" y="7860"/>
                </a:lnTo>
                <a:lnTo>
                  <a:pt x="11875" y="7762"/>
                </a:lnTo>
                <a:lnTo>
                  <a:pt x="11656" y="7689"/>
                </a:lnTo>
                <a:lnTo>
                  <a:pt x="11145" y="7470"/>
                </a:lnTo>
                <a:lnTo>
                  <a:pt x="10901" y="7349"/>
                </a:lnTo>
                <a:lnTo>
                  <a:pt x="10634" y="7251"/>
                </a:lnTo>
                <a:lnTo>
                  <a:pt x="11437" y="7057"/>
                </a:lnTo>
                <a:close/>
                <a:moveTo>
                  <a:pt x="10439" y="7324"/>
                </a:moveTo>
                <a:lnTo>
                  <a:pt x="10512" y="7422"/>
                </a:lnTo>
                <a:lnTo>
                  <a:pt x="10609" y="7495"/>
                </a:lnTo>
                <a:lnTo>
                  <a:pt x="10828" y="7665"/>
                </a:lnTo>
                <a:lnTo>
                  <a:pt x="11047" y="7787"/>
                </a:lnTo>
                <a:lnTo>
                  <a:pt x="11291" y="7884"/>
                </a:lnTo>
                <a:lnTo>
                  <a:pt x="11996" y="8176"/>
                </a:lnTo>
                <a:lnTo>
                  <a:pt x="12167" y="8249"/>
                </a:lnTo>
                <a:lnTo>
                  <a:pt x="12215" y="8273"/>
                </a:lnTo>
                <a:lnTo>
                  <a:pt x="12288" y="8298"/>
                </a:lnTo>
                <a:lnTo>
                  <a:pt x="11996" y="8541"/>
                </a:lnTo>
                <a:lnTo>
                  <a:pt x="11972" y="8541"/>
                </a:lnTo>
                <a:lnTo>
                  <a:pt x="11583" y="8444"/>
                </a:lnTo>
                <a:lnTo>
                  <a:pt x="11218" y="8322"/>
                </a:lnTo>
                <a:lnTo>
                  <a:pt x="10853" y="8152"/>
                </a:lnTo>
                <a:lnTo>
                  <a:pt x="10512" y="7957"/>
                </a:lnTo>
                <a:lnTo>
                  <a:pt x="10098" y="7714"/>
                </a:lnTo>
                <a:lnTo>
                  <a:pt x="9879" y="7592"/>
                </a:lnTo>
                <a:lnTo>
                  <a:pt x="9660" y="7495"/>
                </a:lnTo>
                <a:lnTo>
                  <a:pt x="10439" y="7324"/>
                </a:lnTo>
                <a:close/>
                <a:moveTo>
                  <a:pt x="8225" y="8103"/>
                </a:moveTo>
                <a:lnTo>
                  <a:pt x="8638" y="8249"/>
                </a:lnTo>
                <a:lnTo>
                  <a:pt x="9028" y="8419"/>
                </a:lnTo>
                <a:lnTo>
                  <a:pt x="8930" y="8517"/>
                </a:lnTo>
                <a:lnTo>
                  <a:pt x="8784" y="8638"/>
                </a:lnTo>
                <a:lnTo>
                  <a:pt x="8711" y="8711"/>
                </a:lnTo>
                <a:lnTo>
                  <a:pt x="8687" y="8784"/>
                </a:lnTo>
                <a:lnTo>
                  <a:pt x="8225" y="8103"/>
                </a:lnTo>
                <a:close/>
                <a:moveTo>
                  <a:pt x="7689" y="8663"/>
                </a:moveTo>
                <a:lnTo>
                  <a:pt x="7714" y="9003"/>
                </a:lnTo>
                <a:lnTo>
                  <a:pt x="7689" y="9003"/>
                </a:lnTo>
                <a:lnTo>
                  <a:pt x="7519" y="8930"/>
                </a:lnTo>
                <a:lnTo>
                  <a:pt x="7665" y="8687"/>
                </a:lnTo>
                <a:lnTo>
                  <a:pt x="7689" y="8663"/>
                </a:lnTo>
                <a:close/>
                <a:moveTo>
                  <a:pt x="9344" y="7592"/>
                </a:moveTo>
                <a:lnTo>
                  <a:pt x="9612" y="7787"/>
                </a:lnTo>
                <a:lnTo>
                  <a:pt x="9904" y="7981"/>
                </a:lnTo>
                <a:lnTo>
                  <a:pt x="10463" y="8322"/>
                </a:lnTo>
                <a:lnTo>
                  <a:pt x="10755" y="8492"/>
                </a:lnTo>
                <a:lnTo>
                  <a:pt x="11047" y="8638"/>
                </a:lnTo>
                <a:lnTo>
                  <a:pt x="11364" y="8760"/>
                </a:lnTo>
                <a:lnTo>
                  <a:pt x="11680" y="8833"/>
                </a:lnTo>
                <a:lnTo>
                  <a:pt x="11510" y="9003"/>
                </a:lnTo>
                <a:lnTo>
                  <a:pt x="11485" y="9028"/>
                </a:lnTo>
                <a:lnTo>
                  <a:pt x="10463" y="8565"/>
                </a:lnTo>
                <a:lnTo>
                  <a:pt x="9952" y="8371"/>
                </a:lnTo>
                <a:lnTo>
                  <a:pt x="9417" y="8176"/>
                </a:lnTo>
                <a:lnTo>
                  <a:pt x="8979" y="7981"/>
                </a:lnTo>
                <a:lnTo>
                  <a:pt x="8736" y="7884"/>
                </a:lnTo>
                <a:lnTo>
                  <a:pt x="8468" y="7811"/>
                </a:lnTo>
                <a:lnTo>
                  <a:pt x="8906" y="7714"/>
                </a:lnTo>
                <a:lnTo>
                  <a:pt x="9344" y="7592"/>
                </a:lnTo>
                <a:close/>
                <a:moveTo>
                  <a:pt x="9368" y="8565"/>
                </a:moveTo>
                <a:lnTo>
                  <a:pt x="9733" y="8687"/>
                </a:lnTo>
                <a:lnTo>
                  <a:pt x="9660" y="8760"/>
                </a:lnTo>
                <a:lnTo>
                  <a:pt x="9198" y="9076"/>
                </a:lnTo>
                <a:lnTo>
                  <a:pt x="9101" y="9149"/>
                </a:lnTo>
                <a:lnTo>
                  <a:pt x="9003" y="9247"/>
                </a:lnTo>
                <a:lnTo>
                  <a:pt x="8760" y="8906"/>
                </a:lnTo>
                <a:lnTo>
                  <a:pt x="8784" y="8906"/>
                </a:lnTo>
                <a:lnTo>
                  <a:pt x="8930" y="8809"/>
                </a:lnTo>
                <a:lnTo>
                  <a:pt x="9052" y="8711"/>
                </a:lnTo>
                <a:lnTo>
                  <a:pt x="9174" y="8638"/>
                </a:lnTo>
                <a:lnTo>
                  <a:pt x="9344" y="8590"/>
                </a:lnTo>
                <a:lnTo>
                  <a:pt x="9368" y="8565"/>
                </a:lnTo>
                <a:close/>
                <a:moveTo>
                  <a:pt x="828" y="6181"/>
                </a:moveTo>
                <a:lnTo>
                  <a:pt x="1168" y="6302"/>
                </a:lnTo>
                <a:lnTo>
                  <a:pt x="1533" y="6400"/>
                </a:lnTo>
                <a:lnTo>
                  <a:pt x="2239" y="6546"/>
                </a:lnTo>
                <a:lnTo>
                  <a:pt x="2507" y="6570"/>
                </a:lnTo>
                <a:lnTo>
                  <a:pt x="2750" y="6594"/>
                </a:lnTo>
                <a:lnTo>
                  <a:pt x="3018" y="6619"/>
                </a:lnTo>
                <a:lnTo>
                  <a:pt x="3285" y="6643"/>
                </a:lnTo>
                <a:lnTo>
                  <a:pt x="4356" y="6911"/>
                </a:lnTo>
                <a:lnTo>
                  <a:pt x="5159" y="7081"/>
                </a:lnTo>
                <a:lnTo>
                  <a:pt x="5938" y="7300"/>
                </a:lnTo>
                <a:lnTo>
                  <a:pt x="7519" y="7762"/>
                </a:lnTo>
                <a:lnTo>
                  <a:pt x="6546" y="8273"/>
                </a:lnTo>
                <a:lnTo>
                  <a:pt x="5548" y="8736"/>
                </a:lnTo>
                <a:lnTo>
                  <a:pt x="4697" y="9076"/>
                </a:lnTo>
                <a:lnTo>
                  <a:pt x="4453" y="9198"/>
                </a:lnTo>
                <a:lnTo>
                  <a:pt x="4332" y="9271"/>
                </a:lnTo>
                <a:lnTo>
                  <a:pt x="4234" y="9368"/>
                </a:lnTo>
                <a:lnTo>
                  <a:pt x="4210" y="9320"/>
                </a:lnTo>
                <a:lnTo>
                  <a:pt x="3991" y="9003"/>
                </a:lnTo>
                <a:lnTo>
                  <a:pt x="3748" y="8687"/>
                </a:lnTo>
                <a:lnTo>
                  <a:pt x="3456" y="8395"/>
                </a:lnTo>
                <a:lnTo>
                  <a:pt x="3164" y="8127"/>
                </a:lnTo>
                <a:lnTo>
                  <a:pt x="2531" y="7616"/>
                </a:lnTo>
                <a:lnTo>
                  <a:pt x="2239" y="7373"/>
                </a:lnTo>
                <a:lnTo>
                  <a:pt x="1947" y="7105"/>
                </a:lnTo>
                <a:lnTo>
                  <a:pt x="1728" y="6911"/>
                </a:lnTo>
                <a:lnTo>
                  <a:pt x="1485" y="6716"/>
                </a:lnTo>
                <a:lnTo>
                  <a:pt x="1047" y="6375"/>
                </a:lnTo>
                <a:lnTo>
                  <a:pt x="828" y="6181"/>
                </a:lnTo>
                <a:close/>
                <a:moveTo>
                  <a:pt x="10098" y="8833"/>
                </a:moveTo>
                <a:lnTo>
                  <a:pt x="10658" y="9076"/>
                </a:lnTo>
                <a:lnTo>
                  <a:pt x="10366" y="9247"/>
                </a:lnTo>
                <a:lnTo>
                  <a:pt x="10098" y="9393"/>
                </a:lnTo>
                <a:lnTo>
                  <a:pt x="9758" y="9612"/>
                </a:lnTo>
                <a:lnTo>
                  <a:pt x="9612" y="9758"/>
                </a:lnTo>
                <a:lnTo>
                  <a:pt x="9466" y="9904"/>
                </a:lnTo>
                <a:lnTo>
                  <a:pt x="9125" y="9417"/>
                </a:lnTo>
                <a:lnTo>
                  <a:pt x="9198" y="9393"/>
                </a:lnTo>
                <a:lnTo>
                  <a:pt x="9271" y="9368"/>
                </a:lnTo>
                <a:lnTo>
                  <a:pt x="9417" y="9271"/>
                </a:lnTo>
                <a:lnTo>
                  <a:pt x="9660" y="9101"/>
                </a:lnTo>
                <a:lnTo>
                  <a:pt x="10098" y="8857"/>
                </a:lnTo>
                <a:lnTo>
                  <a:pt x="10098" y="8833"/>
                </a:lnTo>
                <a:close/>
                <a:moveTo>
                  <a:pt x="7324" y="9174"/>
                </a:moveTo>
                <a:lnTo>
                  <a:pt x="7446" y="9222"/>
                </a:lnTo>
                <a:lnTo>
                  <a:pt x="7519" y="9295"/>
                </a:lnTo>
                <a:lnTo>
                  <a:pt x="7738" y="9393"/>
                </a:lnTo>
                <a:lnTo>
                  <a:pt x="7738" y="9855"/>
                </a:lnTo>
                <a:lnTo>
                  <a:pt x="7738" y="10001"/>
                </a:lnTo>
                <a:lnTo>
                  <a:pt x="7495" y="9855"/>
                </a:lnTo>
                <a:lnTo>
                  <a:pt x="7251" y="9733"/>
                </a:lnTo>
                <a:lnTo>
                  <a:pt x="7105" y="9685"/>
                </a:lnTo>
                <a:lnTo>
                  <a:pt x="6984" y="9660"/>
                </a:lnTo>
                <a:lnTo>
                  <a:pt x="7324" y="9174"/>
                </a:lnTo>
                <a:close/>
                <a:moveTo>
                  <a:pt x="6911" y="9758"/>
                </a:moveTo>
                <a:lnTo>
                  <a:pt x="7008" y="9879"/>
                </a:lnTo>
                <a:lnTo>
                  <a:pt x="7130" y="10001"/>
                </a:lnTo>
                <a:lnTo>
                  <a:pt x="7373" y="10196"/>
                </a:lnTo>
                <a:lnTo>
                  <a:pt x="7543" y="10317"/>
                </a:lnTo>
                <a:lnTo>
                  <a:pt x="7762" y="10415"/>
                </a:lnTo>
                <a:lnTo>
                  <a:pt x="7762" y="10926"/>
                </a:lnTo>
                <a:lnTo>
                  <a:pt x="7470" y="10707"/>
                </a:lnTo>
                <a:lnTo>
                  <a:pt x="7203" y="10488"/>
                </a:lnTo>
                <a:lnTo>
                  <a:pt x="7057" y="10415"/>
                </a:lnTo>
                <a:lnTo>
                  <a:pt x="6911" y="10317"/>
                </a:lnTo>
                <a:lnTo>
                  <a:pt x="6741" y="10269"/>
                </a:lnTo>
                <a:lnTo>
                  <a:pt x="6570" y="10244"/>
                </a:lnTo>
                <a:lnTo>
                  <a:pt x="6911" y="9758"/>
                </a:lnTo>
                <a:close/>
                <a:moveTo>
                  <a:pt x="11072" y="9271"/>
                </a:moveTo>
                <a:lnTo>
                  <a:pt x="11291" y="9368"/>
                </a:lnTo>
                <a:lnTo>
                  <a:pt x="11266" y="9490"/>
                </a:lnTo>
                <a:lnTo>
                  <a:pt x="11266" y="9612"/>
                </a:lnTo>
                <a:lnTo>
                  <a:pt x="11096" y="9685"/>
                </a:lnTo>
                <a:lnTo>
                  <a:pt x="10950" y="9782"/>
                </a:lnTo>
                <a:lnTo>
                  <a:pt x="10658" y="9977"/>
                </a:lnTo>
                <a:lnTo>
                  <a:pt x="10293" y="10220"/>
                </a:lnTo>
                <a:lnTo>
                  <a:pt x="10123" y="10366"/>
                </a:lnTo>
                <a:lnTo>
                  <a:pt x="10050" y="10439"/>
                </a:lnTo>
                <a:lnTo>
                  <a:pt x="10001" y="10536"/>
                </a:lnTo>
                <a:lnTo>
                  <a:pt x="10001" y="10585"/>
                </a:lnTo>
                <a:lnTo>
                  <a:pt x="10025" y="10609"/>
                </a:lnTo>
                <a:lnTo>
                  <a:pt x="10123" y="10609"/>
                </a:lnTo>
                <a:lnTo>
                  <a:pt x="10220" y="10585"/>
                </a:lnTo>
                <a:lnTo>
                  <a:pt x="10390" y="10512"/>
                </a:lnTo>
                <a:lnTo>
                  <a:pt x="10561" y="10390"/>
                </a:lnTo>
                <a:lnTo>
                  <a:pt x="10731" y="10269"/>
                </a:lnTo>
                <a:lnTo>
                  <a:pt x="10999" y="10074"/>
                </a:lnTo>
                <a:lnTo>
                  <a:pt x="11291" y="9904"/>
                </a:lnTo>
                <a:lnTo>
                  <a:pt x="11339" y="10171"/>
                </a:lnTo>
                <a:lnTo>
                  <a:pt x="11412" y="10390"/>
                </a:lnTo>
                <a:lnTo>
                  <a:pt x="11145" y="10488"/>
                </a:lnTo>
                <a:lnTo>
                  <a:pt x="10877" y="10634"/>
                </a:lnTo>
                <a:lnTo>
                  <a:pt x="10731" y="10682"/>
                </a:lnTo>
                <a:lnTo>
                  <a:pt x="10561" y="10804"/>
                </a:lnTo>
                <a:lnTo>
                  <a:pt x="10415" y="10926"/>
                </a:lnTo>
                <a:lnTo>
                  <a:pt x="10342" y="10999"/>
                </a:lnTo>
                <a:lnTo>
                  <a:pt x="10317" y="11072"/>
                </a:lnTo>
                <a:lnTo>
                  <a:pt x="9879" y="10463"/>
                </a:lnTo>
                <a:lnTo>
                  <a:pt x="9587" y="10050"/>
                </a:lnTo>
                <a:lnTo>
                  <a:pt x="9733" y="10001"/>
                </a:lnTo>
                <a:lnTo>
                  <a:pt x="9904" y="9928"/>
                </a:lnTo>
                <a:lnTo>
                  <a:pt x="10196" y="9758"/>
                </a:lnTo>
                <a:lnTo>
                  <a:pt x="10634" y="9514"/>
                </a:lnTo>
                <a:lnTo>
                  <a:pt x="11047" y="9295"/>
                </a:lnTo>
                <a:lnTo>
                  <a:pt x="11072" y="9271"/>
                </a:lnTo>
                <a:close/>
                <a:moveTo>
                  <a:pt x="11534" y="10780"/>
                </a:moveTo>
                <a:lnTo>
                  <a:pt x="11656" y="11193"/>
                </a:lnTo>
                <a:lnTo>
                  <a:pt x="11631" y="11193"/>
                </a:lnTo>
                <a:lnTo>
                  <a:pt x="11437" y="11364"/>
                </a:lnTo>
                <a:lnTo>
                  <a:pt x="11218" y="11510"/>
                </a:lnTo>
                <a:lnTo>
                  <a:pt x="11023" y="11631"/>
                </a:lnTo>
                <a:lnTo>
                  <a:pt x="10828" y="11753"/>
                </a:lnTo>
                <a:lnTo>
                  <a:pt x="10804" y="11777"/>
                </a:lnTo>
                <a:lnTo>
                  <a:pt x="10439" y="11242"/>
                </a:lnTo>
                <a:lnTo>
                  <a:pt x="10512" y="11242"/>
                </a:lnTo>
                <a:lnTo>
                  <a:pt x="10585" y="11218"/>
                </a:lnTo>
                <a:lnTo>
                  <a:pt x="10731" y="11145"/>
                </a:lnTo>
                <a:lnTo>
                  <a:pt x="10999" y="10974"/>
                </a:lnTo>
                <a:lnTo>
                  <a:pt x="11534" y="10780"/>
                </a:lnTo>
                <a:close/>
                <a:moveTo>
                  <a:pt x="6522" y="10342"/>
                </a:moveTo>
                <a:lnTo>
                  <a:pt x="6668" y="10439"/>
                </a:lnTo>
                <a:lnTo>
                  <a:pt x="6838" y="10561"/>
                </a:lnTo>
                <a:lnTo>
                  <a:pt x="7105" y="10853"/>
                </a:lnTo>
                <a:lnTo>
                  <a:pt x="7251" y="10999"/>
                </a:lnTo>
                <a:lnTo>
                  <a:pt x="7397" y="11120"/>
                </a:lnTo>
                <a:lnTo>
                  <a:pt x="7568" y="11218"/>
                </a:lnTo>
                <a:lnTo>
                  <a:pt x="7738" y="11291"/>
                </a:lnTo>
                <a:lnTo>
                  <a:pt x="7762" y="11291"/>
                </a:lnTo>
                <a:lnTo>
                  <a:pt x="7762" y="12021"/>
                </a:lnTo>
                <a:lnTo>
                  <a:pt x="7665" y="11948"/>
                </a:lnTo>
                <a:lnTo>
                  <a:pt x="7568" y="11875"/>
                </a:lnTo>
                <a:lnTo>
                  <a:pt x="7397" y="11704"/>
                </a:lnTo>
                <a:lnTo>
                  <a:pt x="7057" y="11364"/>
                </a:lnTo>
                <a:lnTo>
                  <a:pt x="6862" y="11193"/>
                </a:lnTo>
                <a:lnTo>
                  <a:pt x="6619" y="11072"/>
                </a:lnTo>
                <a:lnTo>
                  <a:pt x="6376" y="10999"/>
                </a:lnTo>
                <a:lnTo>
                  <a:pt x="6132" y="10926"/>
                </a:lnTo>
                <a:lnTo>
                  <a:pt x="6522" y="10342"/>
                </a:lnTo>
                <a:close/>
                <a:moveTo>
                  <a:pt x="11753" y="11510"/>
                </a:moveTo>
                <a:lnTo>
                  <a:pt x="11826" y="11802"/>
                </a:lnTo>
                <a:lnTo>
                  <a:pt x="11704" y="11826"/>
                </a:lnTo>
                <a:lnTo>
                  <a:pt x="11607" y="11899"/>
                </a:lnTo>
                <a:lnTo>
                  <a:pt x="11412" y="12021"/>
                </a:lnTo>
                <a:lnTo>
                  <a:pt x="11291" y="12167"/>
                </a:lnTo>
                <a:lnTo>
                  <a:pt x="11218" y="12240"/>
                </a:lnTo>
                <a:lnTo>
                  <a:pt x="11193" y="12313"/>
                </a:lnTo>
                <a:lnTo>
                  <a:pt x="10901" y="11899"/>
                </a:lnTo>
                <a:lnTo>
                  <a:pt x="11120" y="11850"/>
                </a:lnTo>
                <a:lnTo>
                  <a:pt x="11339" y="11777"/>
                </a:lnTo>
                <a:lnTo>
                  <a:pt x="11558" y="11656"/>
                </a:lnTo>
                <a:lnTo>
                  <a:pt x="11753" y="11510"/>
                </a:lnTo>
                <a:close/>
                <a:moveTo>
                  <a:pt x="6059" y="11047"/>
                </a:moveTo>
                <a:lnTo>
                  <a:pt x="6303" y="11218"/>
                </a:lnTo>
                <a:lnTo>
                  <a:pt x="6546" y="11388"/>
                </a:lnTo>
                <a:lnTo>
                  <a:pt x="6789" y="11583"/>
                </a:lnTo>
                <a:lnTo>
                  <a:pt x="6984" y="11802"/>
                </a:lnTo>
                <a:lnTo>
                  <a:pt x="7251" y="12069"/>
                </a:lnTo>
                <a:lnTo>
                  <a:pt x="7397" y="12215"/>
                </a:lnTo>
                <a:lnTo>
                  <a:pt x="7543" y="12313"/>
                </a:lnTo>
                <a:lnTo>
                  <a:pt x="7276" y="12459"/>
                </a:lnTo>
                <a:lnTo>
                  <a:pt x="7154" y="12386"/>
                </a:lnTo>
                <a:lnTo>
                  <a:pt x="7008" y="12337"/>
                </a:lnTo>
                <a:lnTo>
                  <a:pt x="6765" y="12215"/>
                </a:lnTo>
                <a:lnTo>
                  <a:pt x="6522" y="12069"/>
                </a:lnTo>
                <a:lnTo>
                  <a:pt x="6327" y="11948"/>
                </a:lnTo>
                <a:lnTo>
                  <a:pt x="6157" y="11802"/>
                </a:lnTo>
                <a:lnTo>
                  <a:pt x="5962" y="11656"/>
                </a:lnTo>
                <a:lnTo>
                  <a:pt x="5767" y="11534"/>
                </a:lnTo>
                <a:lnTo>
                  <a:pt x="6059" y="11047"/>
                </a:lnTo>
                <a:close/>
                <a:moveTo>
                  <a:pt x="5670" y="11680"/>
                </a:moveTo>
                <a:lnTo>
                  <a:pt x="5719" y="11777"/>
                </a:lnTo>
                <a:lnTo>
                  <a:pt x="5792" y="11850"/>
                </a:lnTo>
                <a:lnTo>
                  <a:pt x="5938" y="12021"/>
                </a:lnTo>
                <a:lnTo>
                  <a:pt x="6108" y="12167"/>
                </a:lnTo>
                <a:lnTo>
                  <a:pt x="6278" y="12288"/>
                </a:lnTo>
                <a:lnTo>
                  <a:pt x="6546" y="12483"/>
                </a:lnTo>
                <a:lnTo>
                  <a:pt x="6716" y="12580"/>
                </a:lnTo>
                <a:lnTo>
                  <a:pt x="6887" y="12678"/>
                </a:lnTo>
                <a:lnTo>
                  <a:pt x="6522" y="12848"/>
                </a:lnTo>
                <a:lnTo>
                  <a:pt x="6230" y="12653"/>
                </a:lnTo>
                <a:lnTo>
                  <a:pt x="5938" y="12434"/>
                </a:lnTo>
                <a:lnTo>
                  <a:pt x="5694" y="12215"/>
                </a:lnTo>
                <a:lnTo>
                  <a:pt x="5475" y="12021"/>
                </a:lnTo>
                <a:lnTo>
                  <a:pt x="5621" y="11777"/>
                </a:lnTo>
                <a:lnTo>
                  <a:pt x="5670" y="11680"/>
                </a:lnTo>
                <a:close/>
                <a:moveTo>
                  <a:pt x="11899" y="12094"/>
                </a:moveTo>
                <a:lnTo>
                  <a:pt x="12021" y="12605"/>
                </a:lnTo>
                <a:lnTo>
                  <a:pt x="11899" y="12726"/>
                </a:lnTo>
                <a:lnTo>
                  <a:pt x="11777" y="12848"/>
                </a:lnTo>
                <a:lnTo>
                  <a:pt x="11729" y="12921"/>
                </a:lnTo>
                <a:lnTo>
                  <a:pt x="11680" y="12994"/>
                </a:lnTo>
                <a:lnTo>
                  <a:pt x="11680" y="13018"/>
                </a:lnTo>
                <a:lnTo>
                  <a:pt x="11266" y="12434"/>
                </a:lnTo>
                <a:lnTo>
                  <a:pt x="11412" y="12386"/>
                </a:lnTo>
                <a:lnTo>
                  <a:pt x="11558" y="12313"/>
                </a:lnTo>
                <a:lnTo>
                  <a:pt x="11729" y="12215"/>
                </a:lnTo>
                <a:lnTo>
                  <a:pt x="11899" y="12094"/>
                </a:lnTo>
                <a:close/>
                <a:moveTo>
                  <a:pt x="5329" y="12240"/>
                </a:moveTo>
                <a:lnTo>
                  <a:pt x="5402" y="12361"/>
                </a:lnTo>
                <a:lnTo>
                  <a:pt x="5500" y="12483"/>
                </a:lnTo>
                <a:lnTo>
                  <a:pt x="5670" y="12678"/>
                </a:lnTo>
                <a:lnTo>
                  <a:pt x="5913" y="12897"/>
                </a:lnTo>
                <a:lnTo>
                  <a:pt x="6157" y="13067"/>
                </a:lnTo>
                <a:lnTo>
                  <a:pt x="5743" y="13335"/>
                </a:lnTo>
                <a:lnTo>
                  <a:pt x="5646" y="13310"/>
                </a:lnTo>
                <a:lnTo>
                  <a:pt x="5475" y="13237"/>
                </a:lnTo>
                <a:lnTo>
                  <a:pt x="5305" y="13164"/>
                </a:lnTo>
                <a:lnTo>
                  <a:pt x="5135" y="13043"/>
                </a:lnTo>
                <a:lnTo>
                  <a:pt x="4940" y="12970"/>
                </a:lnTo>
                <a:lnTo>
                  <a:pt x="4891" y="12945"/>
                </a:lnTo>
                <a:lnTo>
                  <a:pt x="5110" y="12605"/>
                </a:lnTo>
                <a:lnTo>
                  <a:pt x="5329" y="12240"/>
                </a:lnTo>
                <a:close/>
                <a:moveTo>
                  <a:pt x="12094" y="13043"/>
                </a:moveTo>
                <a:lnTo>
                  <a:pt x="12215" y="13748"/>
                </a:lnTo>
                <a:lnTo>
                  <a:pt x="11802" y="13189"/>
                </a:lnTo>
                <a:lnTo>
                  <a:pt x="11850" y="13189"/>
                </a:lnTo>
                <a:lnTo>
                  <a:pt x="11923" y="13164"/>
                </a:lnTo>
                <a:lnTo>
                  <a:pt x="11972" y="13140"/>
                </a:lnTo>
                <a:lnTo>
                  <a:pt x="12094" y="13043"/>
                </a:lnTo>
                <a:close/>
                <a:moveTo>
                  <a:pt x="4745" y="13140"/>
                </a:moveTo>
                <a:lnTo>
                  <a:pt x="4891" y="13310"/>
                </a:lnTo>
                <a:lnTo>
                  <a:pt x="5062" y="13456"/>
                </a:lnTo>
                <a:lnTo>
                  <a:pt x="5305" y="13602"/>
                </a:lnTo>
                <a:lnTo>
                  <a:pt x="4964" y="13846"/>
                </a:lnTo>
                <a:lnTo>
                  <a:pt x="4891" y="13773"/>
                </a:lnTo>
                <a:lnTo>
                  <a:pt x="4818" y="13700"/>
                </a:lnTo>
                <a:lnTo>
                  <a:pt x="4648" y="13627"/>
                </a:lnTo>
                <a:lnTo>
                  <a:pt x="4551" y="13554"/>
                </a:lnTo>
                <a:lnTo>
                  <a:pt x="4405" y="13529"/>
                </a:lnTo>
                <a:lnTo>
                  <a:pt x="4575" y="13335"/>
                </a:lnTo>
                <a:lnTo>
                  <a:pt x="4745" y="13140"/>
                </a:lnTo>
                <a:close/>
                <a:moveTo>
                  <a:pt x="8200" y="8833"/>
                </a:moveTo>
                <a:lnTo>
                  <a:pt x="8371" y="9076"/>
                </a:lnTo>
                <a:lnTo>
                  <a:pt x="8663" y="9514"/>
                </a:lnTo>
                <a:lnTo>
                  <a:pt x="8979" y="9928"/>
                </a:lnTo>
                <a:lnTo>
                  <a:pt x="9587" y="10780"/>
                </a:lnTo>
                <a:lnTo>
                  <a:pt x="10171" y="11583"/>
                </a:lnTo>
                <a:lnTo>
                  <a:pt x="10731" y="12410"/>
                </a:lnTo>
                <a:lnTo>
                  <a:pt x="11291" y="13213"/>
                </a:lnTo>
                <a:lnTo>
                  <a:pt x="11850" y="13992"/>
                </a:lnTo>
                <a:lnTo>
                  <a:pt x="11729" y="13943"/>
                </a:lnTo>
                <a:lnTo>
                  <a:pt x="11072" y="13554"/>
                </a:lnTo>
                <a:lnTo>
                  <a:pt x="10415" y="13189"/>
                </a:lnTo>
                <a:lnTo>
                  <a:pt x="9831" y="12921"/>
                </a:lnTo>
                <a:lnTo>
                  <a:pt x="9539" y="12799"/>
                </a:lnTo>
                <a:lnTo>
                  <a:pt x="9222" y="12678"/>
                </a:lnTo>
                <a:lnTo>
                  <a:pt x="8760" y="12507"/>
                </a:lnTo>
                <a:lnTo>
                  <a:pt x="8517" y="12410"/>
                </a:lnTo>
                <a:lnTo>
                  <a:pt x="8273" y="12337"/>
                </a:lnTo>
                <a:lnTo>
                  <a:pt x="8273" y="12288"/>
                </a:lnTo>
                <a:lnTo>
                  <a:pt x="8322" y="11996"/>
                </a:lnTo>
                <a:lnTo>
                  <a:pt x="8346" y="11680"/>
                </a:lnTo>
                <a:lnTo>
                  <a:pt x="8346" y="11388"/>
                </a:lnTo>
                <a:lnTo>
                  <a:pt x="8322" y="11072"/>
                </a:lnTo>
                <a:lnTo>
                  <a:pt x="8273" y="10463"/>
                </a:lnTo>
                <a:lnTo>
                  <a:pt x="8225" y="9855"/>
                </a:lnTo>
                <a:lnTo>
                  <a:pt x="8200" y="8833"/>
                </a:lnTo>
                <a:close/>
                <a:moveTo>
                  <a:pt x="7324" y="8346"/>
                </a:moveTo>
                <a:lnTo>
                  <a:pt x="6935" y="8906"/>
                </a:lnTo>
                <a:lnTo>
                  <a:pt x="6570" y="9441"/>
                </a:lnTo>
                <a:lnTo>
                  <a:pt x="5962" y="10439"/>
                </a:lnTo>
                <a:lnTo>
                  <a:pt x="5354" y="11437"/>
                </a:lnTo>
                <a:lnTo>
                  <a:pt x="4818" y="12386"/>
                </a:lnTo>
                <a:lnTo>
                  <a:pt x="4502" y="12848"/>
                </a:lnTo>
                <a:lnTo>
                  <a:pt x="4356" y="13067"/>
                </a:lnTo>
                <a:lnTo>
                  <a:pt x="4161" y="13286"/>
                </a:lnTo>
                <a:lnTo>
                  <a:pt x="3967" y="13529"/>
                </a:lnTo>
                <a:lnTo>
                  <a:pt x="3796" y="13773"/>
                </a:lnTo>
                <a:lnTo>
                  <a:pt x="3650" y="14040"/>
                </a:lnTo>
                <a:lnTo>
                  <a:pt x="3504" y="14308"/>
                </a:lnTo>
                <a:lnTo>
                  <a:pt x="3577" y="13578"/>
                </a:lnTo>
                <a:lnTo>
                  <a:pt x="3699" y="12897"/>
                </a:lnTo>
                <a:lnTo>
                  <a:pt x="3821" y="12215"/>
                </a:lnTo>
                <a:lnTo>
                  <a:pt x="3967" y="11558"/>
                </a:lnTo>
                <a:lnTo>
                  <a:pt x="4113" y="10926"/>
                </a:lnTo>
                <a:lnTo>
                  <a:pt x="4234" y="10269"/>
                </a:lnTo>
                <a:lnTo>
                  <a:pt x="4332" y="9612"/>
                </a:lnTo>
                <a:lnTo>
                  <a:pt x="4307" y="9539"/>
                </a:lnTo>
                <a:lnTo>
                  <a:pt x="4453" y="9587"/>
                </a:lnTo>
                <a:lnTo>
                  <a:pt x="4624" y="9563"/>
                </a:lnTo>
                <a:lnTo>
                  <a:pt x="4818" y="9514"/>
                </a:lnTo>
                <a:lnTo>
                  <a:pt x="5013" y="9441"/>
                </a:lnTo>
                <a:lnTo>
                  <a:pt x="5354" y="9271"/>
                </a:lnTo>
                <a:lnTo>
                  <a:pt x="5646" y="9149"/>
                </a:lnTo>
                <a:lnTo>
                  <a:pt x="6497" y="8760"/>
                </a:lnTo>
                <a:lnTo>
                  <a:pt x="7324" y="8346"/>
                </a:lnTo>
                <a:close/>
                <a:moveTo>
                  <a:pt x="4234" y="13700"/>
                </a:moveTo>
                <a:lnTo>
                  <a:pt x="4307" y="13773"/>
                </a:lnTo>
                <a:lnTo>
                  <a:pt x="4380" y="13821"/>
                </a:lnTo>
                <a:lnTo>
                  <a:pt x="4551" y="13943"/>
                </a:lnTo>
                <a:lnTo>
                  <a:pt x="4697" y="14016"/>
                </a:lnTo>
                <a:lnTo>
                  <a:pt x="4307" y="14259"/>
                </a:lnTo>
                <a:lnTo>
                  <a:pt x="4161" y="14332"/>
                </a:lnTo>
                <a:lnTo>
                  <a:pt x="3991" y="14405"/>
                </a:lnTo>
                <a:lnTo>
                  <a:pt x="3650" y="14502"/>
                </a:lnTo>
                <a:lnTo>
                  <a:pt x="3748" y="14429"/>
                </a:lnTo>
                <a:lnTo>
                  <a:pt x="3821" y="14332"/>
                </a:lnTo>
                <a:lnTo>
                  <a:pt x="3967" y="14113"/>
                </a:lnTo>
                <a:lnTo>
                  <a:pt x="4113" y="13894"/>
                </a:lnTo>
                <a:lnTo>
                  <a:pt x="4234" y="13700"/>
                </a:lnTo>
                <a:close/>
                <a:moveTo>
                  <a:pt x="7835" y="0"/>
                </a:moveTo>
                <a:lnTo>
                  <a:pt x="7762" y="25"/>
                </a:lnTo>
                <a:lnTo>
                  <a:pt x="7689" y="73"/>
                </a:lnTo>
                <a:lnTo>
                  <a:pt x="7641" y="73"/>
                </a:lnTo>
                <a:lnTo>
                  <a:pt x="7495" y="146"/>
                </a:lnTo>
                <a:lnTo>
                  <a:pt x="7373" y="244"/>
                </a:lnTo>
                <a:lnTo>
                  <a:pt x="7276" y="341"/>
                </a:lnTo>
                <a:lnTo>
                  <a:pt x="7178" y="463"/>
                </a:lnTo>
                <a:lnTo>
                  <a:pt x="6984" y="730"/>
                </a:lnTo>
                <a:lnTo>
                  <a:pt x="6838" y="1047"/>
                </a:lnTo>
                <a:lnTo>
                  <a:pt x="6716" y="1387"/>
                </a:lnTo>
                <a:lnTo>
                  <a:pt x="6619" y="1704"/>
                </a:lnTo>
                <a:lnTo>
                  <a:pt x="6449" y="2288"/>
                </a:lnTo>
                <a:lnTo>
                  <a:pt x="6230" y="2920"/>
                </a:lnTo>
                <a:lnTo>
                  <a:pt x="6108" y="3237"/>
                </a:lnTo>
                <a:lnTo>
                  <a:pt x="5962" y="3529"/>
                </a:lnTo>
                <a:lnTo>
                  <a:pt x="5767" y="3845"/>
                </a:lnTo>
                <a:lnTo>
                  <a:pt x="5548" y="4161"/>
                </a:lnTo>
                <a:lnTo>
                  <a:pt x="5378" y="4478"/>
                </a:lnTo>
                <a:lnTo>
                  <a:pt x="5281" y="4648"/>
                </a:lnTo>
                <a:lnTo>
                  <a:pt x="5208" y="4818"/>
                </a:lnTo>
                <a:lnTo>
                  <a:pt x="4891" y="4916"/>
                </a:lnTo>
                <a:lnTo>
                  <a:pt x="4575" y="4989"/>
                </a:lnTo>
                <a:lnTo>
                  <a:pt x="3918" y="5110"/>
                </a:lnTo>
                <a:lnTo>
                  <a:pt x="2580" y="5305"/>
                </a:lnTo>
                <a:lnTo>
                  <a:pt x="1801" y="5402"/>
                </a:lnTo>
                <a:lnTo>
                  <a:pt x="998" y="5500"/>
                </a:lnTo>
                <a:lnTo>
                  <a:pt x="755" y="5524"/>
                </a:lnTo>
                <a:lnTo>
                  <a:pt x="511" y="5524"/>
                </a:lnTo>
                <a:lnTo>
                  <a:pt x="244" y="5548"/>
                </a:lnTo>
                <a:lnTo>
                  <a:pt x="146" y="5597"/>
                </a:lnTo>
                <a:lnTo>
                  <a:pt x="49" y="5646"/>
                </a:lnTo>
                <a:lnTo>
                  <a:pt x="0" y="5719"/>
                </a:lnTo>
                <a:lnTo>
                  <a:pt x="0" y="5792"/>
                </a:lnTo>
                <a:lnTo>
                  <a:pt x="0" y="5865"/>
                </a:lnTo>
                <a:lnTo>
                  <a:pt x="0" y="5962"/>
                </a:lnTo>
                <a:lnTo>
                  <a:pt x="49" y="6035"/>
                </a:lnTo>
                <a:lnTo>
                  <a:pt x="146" y="6229"/>
                </a:lnTo>
                <a:lnTo>
                  <a:pt x="292" y="6375"/>
                </a:lnTo>
                <a:lnTo>
                  <a:pt x="438" y="6497"/>
                </a:lnTo>
                <a:lnTo>
                  <a:pt x="682" y="6716"/>
                </a:lnTo>
                <a:lnTo>
                  <a:pt x="925" y="6935"/>
                </a:lnTo>
                <a:lnTo>
                  <a:pt x="1460" y="7349"/>
                </a:lnTo>
                <a:lnTo>
                  <a:pt x="1971" y="7811"/>
                </a:lnTo>
                <a:lnTo>
                  <a:pt x="2507" y="8273"/>
                </a:lnTo>
                <a:lnTo>
                  <a:pt x="2847" y="8565"/>
                </a:lnTo>
                <a:lnTo>
                  <a:pt x="3188" y="8882"/>
                </a:lnTo>
                <a:lnTo>
                  <a:pt x="3504" y="9222"/>
                </a:lnTo>
                <a:lnTo>
                  <a:pt x="3650" y="9417"/>
                </a:lnTo>
                <a:lnTo>
                  <a:pt x="3772" y="9612"/>
                </a:lnTo>
                <a:lnTo>
                  <a:pt x="3821" y="9685"/>
                </a:lnTo>
                <a:lnTo>
                  <a:pt x="3918" y="9709"/>
                </a:lnTo>
                <a:lnTo>
                  <a:pt x="3748" y="10342"/>
                </a:lnTo>
                <a:lnTo>
                  <a:pt x="3602" y="10974"/>
                </a:lnTo>
                <a:lnTo>
                  <a:pt x="3334" y="12264"/>
                </a:lnTo>
                <a:lnTo>
                  <a:pt x="3212" y="12872"/>
                </a:lnTo>
                <a:lnTo>
                  <a:pt x="3091" y="13529"/>
                </a:lnTo>
                <a:lnTo>
                  <a:pt x="3042" y="13870"/>
                </a:lnTo>
                <a:lnTo>
                  <a:pt x="2993" y="14186"/>
                </a:lnTo>
                <a:lnTo>
                  <a:pt x="2993" y="14502"/>
                </a:lnTo>
                <a:lnTo>
                  <a:pt x="3018" y="14819"/>
                </a:lnTo>
                <a:lnTo>
                  <a:pt x="3042" y="14916"/>
                </a:lnTo>
                <a:lnTo>
                  <a:pt x="3091" y="14965"/>
                </a:lnTo>
                <a:lnTo>
                  <a:pt x="3188" y="15013"/>
                </a:lnTo>
                <a:lnTo>
                  <a:pt x="3261" y="15013"/>
                </a:lnTo>
                <a:lnTo>
                  <a:pt x="3383" y="15038"/>
                </a:lnTo>
                <a:lnTo>
                  <a:pt x="3529" y="15062"/>
                </a:lnTo>
                <a:lnTo>
                  <a:pt x="3675" y="15038"/>
                </a:lnTo>
                <a:lnTo>
                  <a:pt x="3796" y="15013"/>
                </a:lnTo>
                <a:lnTo>
                  <a:pt x="4088" y="14940"/>
                </a:lnTo>
                <a:lnTo>
                  <a:pt x="4405" y="14794"/>
                </a:lnTo>
                <a:lnTo>
                  <a:pt x="4672" y="14624"/>
                </a:lnTo>
                <a:lnTo>
                  <a:pt x="4964" y="14454"/>
                </a:lnTo>
                <a:lnTo>
                  <a:pt x="5402" y="14138"/>
                </a:lnTo>
                <a:lnTo>
                  <a:pt x="5719" y="13943"/>
                </a:lnTo>
                <a:lnTo>
                  <a:pt x="6035" y="13748"/>
                </a:lnTo>
                <a:lnTo>
                  <a:pt x="6716" y="13383"/>
                </a:lnTo>
                <a:lnTo>
                  <a:pt x="7373" y="13018"/>
                </a:lnTo>
                <a:lnTo>
                  <a:pt x="7689" y="12824"/>
                </a:lnTo>
                <a:lnTo>
                  <a:pt x="8006" y="12629"/>
                </a:lnTo>
                <a:lnTo>
                  <a:pt x="8127" y="12726"/>
                </a:lnTo>
                <a:lnTo>
                  <a:pt x="8273" y="12799"/>
                </a:lnTo>
                <a:lnTo>
                  <a:pt x="8590" y="12945"/>
                </a:lnTo>
                <a:lnTo>
                  <a:pt x="9320" y="13213"/>
                </a:lnTo>
                <a:lnTo>
                  <a:pt x="9685" y="13383"/>
                </a:lnTo>
                <a:lnTo>
                  <a:pt x="10050" y="13554"/>
                </a:lnTo>
                <a:lnTo>
                  <a:pt x="10707" y="13894"/>
                </a:lnTo>
                <a:lnTo>
                  <a:pt x="11364" y="14283"/>
                </a:lnTo>
                <a:lnTo>
                  <a:pt x="11607" y="14454"/>
                </a:lnTo>
                <a:lnTo>
                  <a:pt x="11875" y="14624"/>
                </a:lnTo>
                <a:lnTo>
                  <a:pt x="12021" y="14697"/>
                </a:lnTo>
                <a:lnTo>
                  <a:pt x="12167" y="14770"/>
                </a:lnTo>
                <a:lnTo>
                  <a:pt x="12313" y="14794"/>
                </a:lnTo>
                <a:lnTo>
                  <a:pt x="12459" y="14770"/>
                </a:lnTo>
                <a:lnTo>
                  <a:pt x="12507" y="14770"/>
                </a:lnTo>
                <a:lnTo>
                  <a:pt x="12532" y="14721"/>
                </a:lnTo>
                <a:lnTo>
                  <a:pt x="12629" y="14697"/>
                </a:lnTo>
                <a:lnTo>
                  <a:pt x="12702" y="14648"/>
                </a:lnTo>
                <a:lnTo>
                  <a:pt x="12751" y="14575"/>
                </a:lnTo>
                <a:lnTo>
                  <a:pt x="12775" y="14478"/>
                </a:lnTo>
                <a:lnTo>
                  <a:pt x="12751" y="14065"/>
                </a:lnTo>
                <a:lnTo>
                  <a:pt x="12702" y="13651"/>
                </a:lnTo>
                <a:lnTo>
                  <a:pt x="12629" y="13262"/>
                </a:lnTo>
                <a:lnTo>
                  <a:pt x="12556" y="12848"/>
                </a:lnTo>
                <a:lnTo>
                  <a:pt x="12337" y="12045"/>
                </a:lnTo>
                <a:lnTo>
                  <a:pt x="12118" y="11242"/>
                </a:lnTo>
                <a:lnTo>
                  <a:pt x="11899" y="10463"/>
                </a:lnTo>
                <a:lnTo>
                  <a:pt x="11875" y="10390"/>
                </a:lnTo>
                <a:lnTo>
                  <a:pt x="11680" y="9685"/>
                </a:lnTo>
                <a:lnTo>
                  <a:pt x="11680" y="9636"/>
                </a:lnTo>
                <a:lnTo>
                  <a:pt x="11656" y="9563"/>
                </a:lnTo>
                <a:lnTo>
                  <a:pt x="11631" y="9514"/>
                </a:lnTo>
                <a:lnTo>
                  <a:pt x="11680" y="9490"/>
                </a:lnTo>
                <a:lnTo>
                  <a:pt x="11729" y="9466"/>
                </a:lnTo>
                <a:lnTo>
                  <a:pt x="11802" y="9393"/>
                </a:lnTo>
                <a:lnTo>
                  <a:pt x="11850" y="9344"/>
                </a:lnTo>
                <a:lnTo>
                  <a:pt x="12094" y="9101"/>
                </a:lnTo>
                <a:lnTo>
                  <a:pt x="12361" y="8882"/>
                </a:lnTo>
                <a:lnTo>
                  <a:pt x="12897" y="8419"/>
                </a:lnTo>
                <a:lnTo>
                  <a:pt x="13432" y="8006"/>
                </a:lnTo>
                <a:lnTo>
                  <a:pt x="13967" y="7568"/>
                </a:lnTo>
                <a:lnTo>
                  <a:pt x="14211" y="7324"/>
                </a:lnTo>
                <a:lnTo>
                  <a:pt x="14454" y="7105"/>
                </a:lnTo>
                <a:lnTo>
                  <a:pt x="14697" y="6838"/>
                </a:lnTo>
                <a:lnTo>
                  <a:pt x="14892" y="6570"/>
                </a:lnTo>
                <a:lnTo>
                  <a:pt x="15232" y="6205"/>
                </a:lnTo>
                <a:lnTo>
                  <a:pt x="15403" y="5986"/>
                </a:lnTo>
                <a:lnTo>
                  <a:pt x="15451" y="5889"/>
                </a:lnTo>
                <a:lnTo>
                  <a:pt x="15500" y="5767"/>
                </a:lnTo>
                <a:lnTo>
                  <a:pt x="15500" y="5743"/>
                </a:lnTo>
                <a:lnTo>
                  <a:pt x="15476" y="5646"/>
                </a:lnTo>
                <a:lnTo>
                  <a:pt x="15427" y="5573"/>
                </a:lnTo>
                <a:lnTo>
                  <a:pt x="15354" y="5475"/>
                </a:lnTo>
                <a:lnTo>
                  <a:pt x="15257" y="5427"/>
                </a:lnTo>
                <a:lnTo>
                  <a:pt x="15135" y="5378"/>
                </a:lnTo>
                <a:lnTo>
                  <a:pt x="15013" y="5354"/>
                </a:lnTo>
                <a:lnTo>
                  <a:pt x="14770" y="5329"/>
                </a:lnTo>
                <a:lnTo>
                  <a:pt x="14527" y="5305"/>
                </a:lnTo>
                <a:lnTo>
                  <a:pt x="13797" y="5256"/>
                </a:lnTo>
                <a:lnTo>
                  <a:pt x="13091" y="5208"/>
                </a:lnTo>
                <a:lnTo>
                  <a:pt x="12410" y="5208"/>
                </a:lnTo>
                <a:lnTo>
                  <a:pt x="11753" y="5159"/>
                </a:lnTo>
                <a:lnTo>
                  <a:pt x="11485" y="5135"/>
                </a:lnTo>
                <a:lnTo>
                  <a:pt x="11218" y="5086"/>
                </a:lnTo>
                <a:lnTo>
                  <a:pt x="10950" y="5013"/>
                </a:lnTo>
                <a:lnTo>
                  <a:pt x="10682" y="4989"/>
                </a:lnTo>
                <a:lnTo>
                  <a:pt x="10658" y="4940"/>
                </a:lnTo>
                <a:lnTo>
                  <a:pt x="10634" y="4867"/>
                </a:lnTo>
                <a:lnTo>
                  <a:pt x="10415" y="4599"/>
                </a:lnTo>
                <a:lnTo>
                  <a:pt x="10220" y="4332"/>
                </a:lnTo>
                <a:lnTo>
                  <a:pt x="10025" y="4040"/>
                </a:lnTo>
                <a:lnTo>
                  <a:pt x="9855" y="3748"/>
                </a:lnTo>
                <a:lnTo>
                  <a:pt x="9514" y="3164"/>
                </a:lnTo>
                <a:lnTo>
                  <a:pt x="9222" y="2531"/>
                </a:lnTo>
                <a:lnTo>
                  <a:pt x="8638" y="1290"/>
                </a:lnTo>
                <a:lnTo>
                  <a:pt x="8322" y="682"/>
                </a:lnTo>
                <a:lnTo>
                  <a:pt x="7981" y="73"/>
                </a:lnTo>
                <a:lnTo>
                  <a:pt x="7908" y="25"/>
                </a:lnTo>
                <a:lnTo>
                  <a:pt x="7835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685" name="CustomShape 4"/>
          <p:cNvSpPr/>
          <p:nvPr/>
        </p:nvSpPr>
        <p:spPr>
          <a:xfrm rot="2487000">
            <a:off x="5887440" y="3255840"/>
            <a:ext cx="302760" cy="294480"/>
          </a:xfrm>
          <a:custGeom>
            <a:avLst/>
            <a:gdLst/>
            <a:ahLst/>
            <a:cxnLst/>
            <a:rect l="l" t="t" r="r" b="b"/>
            <a:pathLst>
              <a:path w="15501" h="15063">
                <a:moveTo>
                  <a:pt x="7957" y="925"/>
                </a:moveTo>
                <a:lnTo>
                  <a:pt x="8249" y="1533"/>
                </a:lnTo>
                <a:lnTo>
                  <a:pt x="8103" y="1606"/>
                </a:lnTo>
                <a:lnTo>
                  <a:pt x="7957" y="1704"/>
                </a:lnTo>
                <a:lnTo>
                  <a:pt x="7933" y="1752"/>
                </a:lnTo>
                <a:lnTo>
                  <a:pt x="7933" y="1339"/>
                </a:lnTo>
                <a:lnTo>
                  <a:pt x="7957" y="925"/>
                </a:lnTo>
                <a:close/>
                <a:moveTo>
                  <a:pt x="8371" y="1801"/>
                </a:moveTo>
                <a:lnTo>
                  <a:pt x="8492" y="2020"/>
                </a:lnTo>
                <a:lnTo>
                  <a:pt x="8346" y="2117"/>
                </a:lnTo>
                <a:lnTo>
                  <a:pt x="8200" y="2215"/>
                </a:lnTo>
                <a:lnTo>
                  <a:pt x="8079" y="2288"/>
                </a:lnTo>
                <a:lnTo>
                  <a:pt x="7957" y="2409"/>
                </a:lnTo>
                <a:lnTo>
                  <a:pt x="7933" y="2069"/>
                </a:lnTo>
                <a:lnTo>
                  <a:pt x="8127" y="1971"/>
                </a:lnTo>
                <a:lnTo>
                  <a:pt x="8249" y="1898"/>
                </a:lnTo>
                <a:lnTo>
                  <a:pt x="8371" y="1801"/>
                </a:lnTo>
                <a:close/>
                <a:moveTo>
                  <a:pt x="8663" y="2336"/>
                </a:moveTo>
                <a:lnTo>
                  <a:pt x="8784" y="2628"/>
                </a:lnTo>
                <a:lnTo>
                  <a:pt x="8687" y="2653"/>
                </a:lnTo>
                <a:lnTo>
                  <a:pt x="8590" y="2726"/>
                </a:lnTo>
                <a:lnTo>
                  <a:pt x="8419" y="2847"/>
                </a:lnTo>
                <a:lnTo>
                  <a:pt x="8225" y="2993"/>
                </a:lnTo>
                <a:lnTo>
                  <a:pt x="8054" y="3164"/>
                </a:lnTo>
                <a:lnTo>
                  <a:pt x="8006" y="2750"/>
                </a:lnTo>
                <a:lnTo>
                  <a:pt x="8176" y="2653"/>
                </a:lnTo>
                <a:lnTo>
                  <a:pt x="8322" y="2531"/>
                </a:lnTo>
                <a:lnTo>
                  <a:pt x="8565" y="2385"/>
                </a:lnTo>
                <a:lnTo>
                  <a:pt x="8663" y="2336"/>
                </a:lnTo>
                <a:close/>
                <a:moveTo>
                  <a:pt x="8979" y="2945"/>
                </a:moveTo>
                <a:lnTo>
                  <a:pt x="8979" y="2969"/>
                </a:lnTo>
                <a:lnTo>
                  <a:pt x="9076" y="3164"/>
                </a:lnTo>
                <a:lnTo>
                  <a:pt x="8857" y="3285"/>
                </a:lnTo>
                <a:lnTo>
                  <a:pt x="8663" y="3431"/>
                </a:lnTo>
                <a:lnTo>
                  <a:pt x="8371" y="3626"/>
                </a:lnTo>
                <a:lnTo>
                  <a:pt x="8079" y="3821"/>
                </a:lnTo>
                <a:lnTo>
                  <a:pt x="8054" y="3504"/>
                </a:lnTo>
                <a:lnTo>
                  <a:pt x="8200" y="3456"/>
                </a:lnTo>
                <a:lnTo>
                  <a:pt x="8322" y="3383"/>
                </a:lnTo>
                <a:lnTo>
                  <a:pt x="8541" y="3212"/>
                </a:lnTo>
                <a:lnTo>
                  <a:pt x="8833" y="3018"/>
                </a:lnTo>
                <a:lnTo>
                  <a:pt x="8979" y="2945"/>
                </a:lnTo>
                <a:close/>
                <a:moveTo>
                  <a:pt x="9271" y="3529"/>
                </a:moveTo>
                <a:lnTo>
                  <a:pt x="9393" y="3796"/>
                </a:lnTo>
                <a:lnTo>
                  <a:pt x="8736" y="4186"/>
                </a:lnTo>
                <a:lnTo>
                  <a:pt x="8419" y="4380"/>
                </a:lnTo>
                <a:lnTo>
                  <a:pt x="8249" y="4478"/>
                </a:lnTo>
                <a:lnTo>
                  <a:pt x="8103" y="4599"/>
                </a:lnTo>
                <a:lnTo>
                  <a:pt x="8079" y="4113"/>
                </a:lnTo>
                <a:lnTo>
                  <a:pt x="8225" y="4088"/>
                </a:lnTo>
                <a:lnTo>
                  <a:pt x="8371" y="4040"/>
                </a:lnTo>
                <a:lnTo>
                  <a:pt x="8663" y="3894"/>
                </a:lnTo>
                <a:lnTo>
                  <a:pt x="9052" y="3650"/>
                </a:lnTo>
                <a:lnTo>
                  <a:pt x="9271" y="3529"/>
                </a:lnTo>
                <a:close/>
                <a:moveTo>
                  <a:pt x="9587" y="4186"/>
                </a:moveTo>
                <a:lnTo>
                  <a:pt x="9660" y="4332"/>
                </a:lnTo>
                <a:lnTo>
                  <a:pt x="9490" y="4429"/>
                </a:lnTo>
                <a:lnTo>
                  <a:pt x="9344" y="4551"/>
                </a:lnTo>
                <a:lnTo>
                  <a:pt x="9052" y="4770"/>
                </a:lnTo>
                <a:lnTo>
                  <a:pt x="8809" y="4916"/>
                </a:lnTo>
                <a:lnTo>
                  <a:pt x="8590" y="5110"/>
                </a:lnTo>
                <a:lnTo>
                  <a:pt x="8371" y="5305"/>
                </a:lnTo>
                <a:lnTo>
                  <a:pt x="8176" y="5524"/>
                </a:lnTo>
                <a:lnTo>
                  <a:pt x="8127" y="4794"/>
                </a:lnTo>
                <a:lnTo>
                  <a:pt x="8322" y="4794"/>
                </a:lnTo>
                <a:lnTo>
                  <a:pt x="8492" y="4721"/>
                </a:lnTo>
                <a:lnTo>
                  <a:pt x="8833" y="4575"/>
                </a:lnTo>
                <a:lnTo>
                  <a:pt x="9222" y="4380"/>
                </a:lnTo>
                <a:lnTo>
                  <a:pt x="9587" y="4186"/>
                </a:lnTo>
                <a:close/>
                <a:moveTo>
                  <a:pt x="14965" y="5938"/>
                </a:moveTo>
                <a:lnTo>
                  <a:pt x="14795" y="6059"/>
                </a:lnTo>
                <a:lnTo>
                  <a:pt x="14649" y="6205"/>
                </a:lnTo>
                <a:lnTo>
                  <a:pt x="14576" y="6181"/>
                </a:lnTo>
                <a:lnTo>
                  <a:pt x="14332" y="6157"/>
                </a:lnTo>
                <a:lnTo>
                  <a:pt x="14965" y="5938"/>
                </a:lnTo>
                <a:close/>
                <a:moveTo>
                  <a:pt x="2190" y="5840"/>
                </a:moveTo>
                <a:lnTo>
                  <a:pt x="2093" y="5986"/>
                </a:lnTo>
                <a:lnTo>
                  <a:pt x="2044" y="6132"/>
                </a:lnTo>
                <a:lnTo>
                  <a:pt x="2044" y="6181"/>
                </a:lnTo>
                <a:lnTo>
                  <a:pt x="2044" y="6254"/>
                </a:lnTo>
                <a:lnTo>
                  <a:pt x="1874" y="6181"/>
                </a:lnTo>
                <a:lnTo>
                  <a:pt x="1679" y="6108"/>
                </a:lnTo>
                <a:lnTo>
                  <a:pt x="1266" y="5962"/>
                </a:lnTo>
                <a:lnTo>
                  <a:pt x="2190" y="5840"/>
                </a:lnTo>
                <a:close/>
                <a:moveTo>
                  <a:pt x="3018" y="5743"/>
                </a:moveTo>
                <a:lnTo>
                  <a:pt x="2677" y="6132"/>
                </a:lnTo>
                <a:lnTo>
                  <a:pt x="2555" y="6302"/>
                </a:lnTo>
                <a:lnTo>
                  <a:pt x="2288" y="6278"/>
                </a:lnTo>
                <a:lnTo>
                  <a:pt x="2312" y="6254"/>
                </a:lnTo>
                <a:lnTo>
                  <a:pt x="2409" y="6181"/>
                </a:lnTo>
                <a:lnTo>
                  <a:pt x="2482" y="6059"/>
                </a:lnTo>
                <a:lnTo>
                  <a:pt x="2604" y="5938"/>
                </a:lnTo>
                <a:lnTo>
                  <a:pt x="2750" y="5816"/>
                </a:lnTo>
                <a:lnTo>
                  <a:pt x="2823" y="5767"/>
                </a:lnTo>
                <a:lnTo>
                  <a:pt x="3018" y="5743"/>
                </a:lnTo>
                <a:close/>
                <a:moveTo>
                  <a:pt x="9879" y="4672"/>
                </a:moveTo>
                <a:lnTo>
                  <a:pt x="9977" y="4818"/>
                </a:lnTo>
                <a:lnTo>
                  <a:pt x="9952" y="4818"/>
                </a:lnTo>
                <a:lnTo>
                  <a:pt x="9733" y="5062"/>
                </a:lnTo>
                <a:lnTo>
                  <a:pt x="9490" y="5281"/>
                </a:lnTo>
                <a:lnTo>
                  <a:pt x="8979" y="5719"/>
                </a:lnTo>
                <a:lnTo>
                  <a:pt x="8590" y="6035"/>
                </a:lnTo>
                <a:lnTo>
                  <a:pt x="8395" y="6181"/>
                </a:lnTo>
                <a:lnTo>
                  <a:pt x="8200" y="6351"/>
                </a:lnTo>
                <a:lnTo>
                  <a:pt x="8176" y="5694"/>
                </a:lnTo>
                <a:lnTo>
                  <a:pt x="8468" y="5573"/>
                </a:lnTo>
                <a:lnTo>
                  <a:pt x="8736" y="5402"/>
                </a:lnTo>
                <a:lnTo>
                  <a:pt x="9247" y="5086"/>
                </a:lnTo>
                <a:lnTo>
                  <a:pt x="9539" y="4916"/>
                </a:lnTo>
                <a:lnTo>
                  <a:pt x="9709" y="4794"/>
                </a:lnTo>
                <a:lnTo>
                  <a:pt x="9879" y="4672"/>
                </a:lnTo>
                <a:close/>
                <a:moveTo>
                  <a:pt x="3967" y="5597"/>
                </a:moveTo>
                <a:lnTo>
                  <a:pt x="3869" y="5719"/>
                </a:lnTo>
                <a:lnTo>
                  <a:pt x="3723" y="5986"/>
                </a:lnTo>
                <a:lnTo>
                  <a:pt x="3553" y="6229"/>
                </a:lnTo>
                <a:lnTo>
                  <a:pt x="3504" y="6327"/>
                </a:lnTo>
                <a:lnTo>
                  <a:pt x="3456" y="6424"/>
                </a:lnTo>
                <a:lnTo>
                  <a:pt x="3164" y="6375"/>
                </a:lnTo>
                <a:lnTo>
                  <a:pt x="2920" y="6327"/>
                </a:lnTo>
                <a:lnTo>
                  <a:pt x="3066" y="6181"/>
                </a:lnTo>
                <a:lnTo>
                  <a:pt x="3431" y="5792"/>
                </a:lnTo>
                <a:lnTo>
                  <a:pt x="3602" y="5646"/>
                </a:lnTo>
                <a:lnTo>
                  <a:pt x="3967" y="5597"/>
                </a:lnTo>
                <a:close/>
                <a:moveTo>
                  <a:pt x="5110" y="5354"/>
                </a:moveTo>
                <a:lnTo>
                  <a:pt x="4989" y="5475"/>
                </a:lnTo>
                <a:lnTo>
                  <a:pt x="4867" y="5597"/>
                </a:lnTo>
                <a:lnTo>
                  <a:pt x="4648" y="5865"/>
                </a:lnTo>
                <a:lnTo>
                  <a:pt x="4380" y="6205"/>
                </a:lnTo>
                <a:lnTo>
                  <a:pt x="4234" y="6400"/>
                </a:lnTo>
                <a:lnTo>
                  <a:pt x="4113" y="6594"/>
                </a:lnTo>
                <a:lnTo>
                  <a:pt x="3723" y="6497"/>
                </a:lnTo>
                <a:lnTo>
                  <a:pt x="3821" y="6400"/>
                </a:lnTo>
                <a:lnTo>
                  <a:pt x="3869" y="6278"/>
                </a:lnTo>
                <a:lnTo>
                  <a:pt x="3991" y="6084"/>
                </a:lnTo>
                <a:lnTo>
                  <a:pt x="4137" y="5865"/>
                </a:lnTo>
                <a:lnTo>
                  <a:pt x="4307" y="5694"/>
                </a:lnTo>
                <a:lnTo>
                  <a:pt x="4405" y="5597"/>
                </a:lnTo>
                <a:lnTo>
                  <a:pt x="4526" y="5500"/>
                </a:lnTo>
                <a:lnTo>
                  <a:pt x="5110" y="5354"/>
                </a:lnTo>
                <a:close/>
                <a:moveTo>
                  <a:pt x="14065" y="6254"/>
                </a:moveTo>
                <a:lnTo>
                  <a:pt x="14138" y="6327"/>
                </a:lnTo>
                <a:lnTo>
                  <a:pt x="14235" y="6375"/>
                </a:lnTo>
                <a:lnTo>
                  <a:pt x="14430" y="6448"/>
                </a:lnTo>
                <a:lnTo>
                  <a:pt x="14186" y="6740"/>
                </a:lnTo>
                <a:lnTo>
                  <a:pt x="14016" y="6643"/>
                </a:lnTo>
                <a:lnTo>
                  <a:pt x="13846" y="6546"/>
                </a:lnTo>
                <a:lnTo>
                  <a:pt x="13675" y="6497"/>
                </a:lnTo>
                <a:lnTo>
                  <a:pt x="13481" y="6448"/>
                </a:lnTo>
                <a:lnTo>
                  <a:pt x="14065" y="6254"/>
                </a:lnTo>
                <a:close/>
                <a:moveTo>
                  <a:pt x="5573" y="5451"/>
                </a:moveTo>
                <a:lnTo>
                  <a:pt x="5719" y="5621"/>
                </a:lnTo>
                <a:lnTo>
                  <a:pt x="5840" y="5767"/>
                </a:lnTo>
                <a:lnTo>
                  <a:pt x="5816" y="5767"/>
                </a:lnTo>
                <a:lnTo>
                  <a:pt x="5670" y="5840"/>
                </a:lnTo>
                <a:lnTo>
                  <a:pt x="5548" y="5962"/>
                </a:lnTo>
                <a:lnTo>
                  <a:pt x="5354" y="6205"/>
                </a:lnTo>
                <a:lnTo>
                  <a:pt x="5110" y="6473"/>
                </a:lnTo>
                <a:lnTo>
                  <a:pt x="4989" y="6619"/>
                </a:lnTo>
                <a:lnTo>
                  <a:pt x="4916" y="6765"/>
                </a:lnTo>
                <a:lnTo>
                  <a:pt x="4429" y="6667"/>
                </a:lnTo>
                <a:lnTo>
                  <a:pt x="4551" y="6546"/>
                </a:lnTo>
                <a:lnTo>
                  <a:pt x="4648" y="6424"/>
                </a:lnTo>
                <a:lnTo>
                  <a:pt x="4843" y="6157"/>
                </a:lnTo>
                <a:lnTo>
                  <a:pt x="5159" y="5816"/>
                </a:lnTo>
                <a:lnTo>
                  <a:pt x="5354" y="5646"/>
                </a:lnTo>
                <a:lnTo>
                  <a:pt x="5475" y="5548"/>
                </a:lnTo>
                <a:lnTo>
                  <a:pt x="5548" y="5451"/>
                </a:lnTo>
                <a:close/>
                <a:moveTo>
                  <a:pt x="6035" y="5962"/>
                </a:moveTo>
                <a:lnTo>
                  <a:pt x="6278" y="6254"/>
                </a:lnTo>
                <a:lnTo>
                  <a:pt x="6157" y="6424"/>
                </a:lnTo>
                <a:lnTo>
                  <a:pt x="6011" y="6643"/>
                </a:lnTo>
                <a:lnTo>
                  <a:pt x="5889" y="6862"/>
                </a:lnTo>
                <a:lnTo>
                  <a:pt x="5840" y="6935"/>
                </a:lnTo>
                <a:lnTo>
                  <a:pt x="5840" y="7008"/>
                </a:lnTo>
                <a:lnTo>
                  <a:pt x="5232" y="6838"/>
                </a:lnTo>
                <a:lnTo>
                  <a:pt x="5402" y="6692"/>
                </a:lnTo>
                <a:lnTo>
                  <a:pt x="5548" y="6546"/>
                </a:lnTo>
                <a:lnTo>
                  <a:pt x="5767" y="6278"/>
                </a:lnTo>
                <a:lnTo>
                  <a:pt x="5889" y="6157"/>
                </a:lnTo>
                <a:lnTo>
                  <a:pt x="6011" y="6011"/>
                </a:lnTo>
                <a:lnTo>
                  <a:pt x="6035" y="5962"/>
                </a:lnTo>
                <a:close/>
                <a:moveTo>
                  <a:pt x="7519" y="925"/>
                </a:moveTo>
                <a:lnTo>
                  <a:pt x="7470" y="1120"/>
                </a:lnTo>
                <a:lnTo>
                  <a:pt x="7470" y="1314"/>
                </a:lnTo>
                <a:lnTo>
                  <a:pt x="7470" y="1704"/>
                </a:lnTo>
                <a:lnTo>
                  <a:pt x="7495" y="2093"/>
                </a:lnTo>
                <a:lnTo>
                  <a:pt x="7519" y="2482"/>
                </a:lnTo>
                <a:lnTo>
                  <a:pt x="7592" y="3285"/>
                </a:lnTo>
                <a:lnTo>
                  <a:pt x="7665" y="4234"/>
                </a:lnTo>
                <a:lnTo>
                  <a:pt x="7714" y="5183"/>
                </a:lnTo>
                <a:lnTo>
                  <a:pt x="7714" y="6132"/>
                </a:lnTo>
                <a:lnTo>
                  <a:pt x="7714" y="7081"/>
                </a:lnTo>
                <a:lnTo>
                  <a:pt x="7519" y="6886"/>
                </a:lnTo>
                <a:lnTo>
                  <a:pt x="7324" y="6716"/>
                </a:lnTo>
                <a:lnTo>
                  <a:pt x="7032" y="6473"/>
                </a:lnTo>
                <a:lnTo>
                  <a:pt x="6522" y="5913"/>
                </a:lnTo>
                <a:lnTo>
                  <a:pt x="5986" y="5354"/>
                </a:lnTo>
                <a:lnTo>
                  <a:pt x="5792" y="5159"/>
                </a:lnTo>
                <a:lnTo>
                  <a:pt x="5670" y="5086"/>
                </a:lnTo>
                <a:lnTo>
                  <a:pt x="5573" y="5013"/>
                </a:lnTo>
                <a:lnTo>
                  <a:pt x="5719" y="4721"/>
                </a:lnTo>
                <a:lnTo>
                  <a:pt x="5913" y="4453"/>
                </a:lnTo>
                <a:lnTo>
                  <a:pt x="6278" y="3894"/>
                </a:lnTo>
                <a:lnTo>
                  <a:pt x="6449" y="3626"/>
                </a:lnTo>
                <a:lnTo>
                  <a:pt x="6570" y="3358"/>
                </a:lnTo>
                <a:lnTo>
                  <a:pt x="6692" y="3066"/>
                </a:lnTo>
                <a:lnTo>
                  <a:pt x="6789" y="2774"/>
                </a:lnTo>
                <a:lnTo>
                  <a:pt x="6984" y="2166"/>
                </a:lnTo>
                <a:lnTo>
                  <a:pt x="7203" y="1558"/>
                </a:lnTo>
                <a:lnTo>
                  <a:pt x="7349" y="1217"/>
                </a:lnTo>
                <a:lnTo>
                  <a:pt x="7519" y="925"/>
                </a:lnTo>
                <a:close/>
                <a:moveTo>
                  <a:pt x="6497" y="6497"/>
                </a:moveTo>
                <a:lnTo>
                  <a:pt x="6522" y="6521"/>
                </a:lnTo>
                <a:lnTo>
                  <a:pt x="6716" y="6716"/>
                </a:lnTo>
                <a:lnTo>
                  <a:pt x="6643" y="6765"/>
                </a:lnTo>
                <a:lnTo>
                  <a:pt x="6595" y="6789"/>
                </a:lnTo>
                <a:lnTo>
                  <a:pt x="6497" y="6911"/>
                </a:lnTo>
                <a:lnTo>
                  <a:pt x="6400" y="7008"/>
                </a:lnTo>
                <a:lnTo>
                  <a:pt x="6327" y="7130"/>
                </a:lnTo>
                <a:lnTo>
                  <a:pt x="5986" y="7057"/>
                </a:lnTo>
                <a:lnTo>
                  <a:pt x="6059" y="7008"/>
                </a:lnTo>
                <a:lnTo>
                  <a:pt x="6132" y="6935"/>
                </a:lnTo>
                <a:lnTo>
                  <a:pt x="6254" y="6838"/>
                </a:lnTo>
                <a:lnTo>
                  <a:pt x="6497" y="6497"/>
                </a:lnTo>
                <a:close/>
                <a:moveTo>
                  <a:pt x="13286" y="6521"/>
                </a:moveTo>
                <a:lnTo>
                  <a:pt x="13627" y="6740"/>
                </a:lnTo>
                <a:lnTo>
                  <a:pt x="13967" y="6935"/>
                </a:lnTo>
                <a:lnTo>
                  <a:pt x="13870" y="7032"/>
                </a:lnTo>
                <a:lnTo>
                  <a:pt x="13724" y="7178"/>
                </a:lnTo>
                <a:lnTo>
                  <a:pt x="13578" y="7081"/>
                </a:lnTo>
                <a:lnTo>
                  <a:pt x="13456" y="7032"/>
                </a:lnTo>
                <a:lnTo>
                  <a:pt x="13164" y="6911"/>
                </a:lnTo>
                <a:lnTo>
                  <a:pt x="12897" y="6813"/>
                </a:lnTo>
                <a:lnTo>
                  <a:pt x="12653" y="6716"/>
                </a:lnTo>
                <a:lnTo>
                  <a:pt x="13286" y="6521"/>
                </a:lnTo>
                <a:close/>
                <a:moveTo>
                  <a:pt x="10171" y="5062"/>
                </a:moveTo>
                <a:lnTo>
                  <a:pt x="10220" y="5135"/>
                </a:lnTo>
                <a:lnTo>
                  <a:pt x="10196" y="5159"/>
                </a:lnTo>
                <a:lnTo>
                  <a:pt x="9587" y="5816"/>
                </a:lnTo>
                <a:lnTo>
                  <a:pt x="9003" y="6521"/>
                </a:lnTo>
                <a:lnTo>
                  <a:pt x="8809" y="6716"/>
                </a:lnTo>
                <a:lnTo>
                  <a:pt x="8590" y="6935"/>
                </a:lnTo>
                <a:lnTo>
                  <a:pt x="8371" y="7154"/>
                </a:lnTo>
                <a:lnTo>
                  <a:pt x="8152" y="7373"/>
                </a:lnTo>
                <a:lnTo>
                  <a:pt x="8200" y="6740"/>
                </a:lnTo>
                <a:lnTo>
                  <a:pt x="8444" y="6570"/>
                </a:lnTo>
                <a:lnTo>
                  <a:pt x="8663" y="6400"/>
                </a:lnTo>
                <a:lnTo>
                  <a:pt x="9101" y="6035"/>
                </a:lnTo>
                <a:lnTo>
                  <a:pt x="9660" y="5573"/>
                </a:lnTo>
                <a:lnTo>
                  <a:pt x="9928" y="5329"/>
                </a:lnTo>
                <a:lnTo>
                  <a:pt x="10171" y="5062"/>
                </a:lnTo>
                <a:close/>
                <a:moveTo>
                  <a:pt x="10488" y="5329"/>
                </a:moveTo>
                <a:lnTo>
                  <a:pt x="10731" y="5427"/>
                </a:lnTo>
                <a:lnTo>
                  <a:pt x="10999" y="5500"/>
                </a:lnTo>
                <a:lnTo>
                  <a:pt x="11510" y="5597"/>
                </a:lnTo>
                <a:lnTo>
                  <a:pt x="11850" y="5670"/>
                </a:lnTo>
                <a:lnTo>
                  <a:pt x="12167" y="5694"/>
                </a:lnTo>
                <a:lnTo>
                  <a:pt x="12824" y="5719"/>
                </a:lnTo>
                <a:lnTo>
                  <a:pt x="13529" y="5743"/>
                </a:lnTo>
                <a:lnTo>
                  <a:pt x="14235" y="5792"/>
                </a:lnTo>
                <a:lnTo>
                  <a:pt x="13505" y="6059"/>
                </a:lnTo>
                <a:lnTo>
                  <a:pt x="12799" y="6278"/>
                </a:lnTo>
                <a:lnTo>
                  <a:pt x="11339" y="6692"/>
                </a:lnTo>
                <a:lnTo>
                  <a:pt x="9612" y="7130"/>
                </a:lnTo>
                <a:lnTo>
                  <a:pt x="9149" y="7251"/>
                </a:lnTo>
                <a:lnTo>
                  <a:pt x="8663" y="7373"/>
                </a:lnTo>
                <a:lnTo>
                  <a:pt x="9101" y="6862"/>
                </a:lnTo>
                <a:lnTo>
                  <a:pt x="9758" y="6132"/>
                </a:lnTo>
                <a:lnTo>
                  <a:pt x="10098" y="5767"/>
                </a:lnTo>
                <a:lnTo>
                  <a:pt x="10439" y="5402"/>
                </a:lnTo>
                <a:lnTo>
                  <a:pt x="10488" y="5329"/>
                </a:lnTo>
                <a:close/>
                <a:moveTo>
                  <a:pt x="6862" y="6886"/>
                </a:moveTo>
                <a:lnTo>
                  <a:pt x="7349" y="7422"/>
                </a:lnTo>
                <a:lnTo>
                  <a:pt x="7349" y="7422"/>
                </a:lnTo>
                <a:lnTo>
                  <a:pt x="6570" y="7203"/>
                </a:lnTo>
                <a:lnTo>
                  <a:pt x="6668" y="7105"/>
                </a:lnTo>
                <a:lnTo>
                  <a:pt x="6765" y="7008"/>
                </a:lnTo>
                <a:lnTo>
                  <a:pt x="6862" y="6911"/>
                </a:lnTo>
                <a:lnTo>
                  <a:pt x="6862" y="6886"/>
                </a:lnTo>
                <a:close/>
                <a:moveTo>
                  <a:pt x="12386" y="6789"/>
                </a:moveTo>
                <a:lnTo>
                  <a:pt x="12483" y="6911"/>
                </a:lnTo>
                <a:lnTo>
                  <a:pt x="12629" y="7008"/>
                </a:lnTo>
                <a:lnTo>
                  <a:pt x="12775" y="7105"/>
                </a:lnTo>
                <a:lnTo>
                  <a:pt x="12921" y="7178"/>
                </a:lnTo>
                <a:lnTo>
                  <a:pt x="13432" y="7422"/>
                </a:lnTo>
                <a:lnTo>
                  <a:pt x="13140" y="7641"/>
                </a:lnTo>
                <a:lnTo>
                  <a:pt x="12970" y="7543"/>
                </a:lnTo>
                <a:lnTo>
                  <a:pt x="12799" y="7470"/>
                </a:lnTo>
                <a:lnTo>
                  <a:pt x="12483" y="7349"/>
                </a:lnTo>
                <a:lnTo>
                  <a:pt x="12045" y="7154"/>
                </a:lnTo>
                <a:lnTo>
                  <a:pt x="11826" y="7057"/>
                </a:lnTo>
                <a:lnTo>
                  <a:pt x="11607" y="7008"/>
                </a:lnTo>
                <a:lnTo>
                  <a:pt x="12386" y="6789"/>
                </a:lnTo>
                <a:close/>
                <a:moveTo>
                  <a:pt x="11461" y="7057"/>
                </a:moveTo>
                <a:lnTo>
                  <a:pt x="11534" y="7154"/>
                </a:lnTo>
                <a:lnTo>
                  <a:pt x="11631" y="7251"/>
                </a:lnTo>
                <a:lnTo>
                  <a:pt x="11850" y="7397"/>
                </a:lnTo>
                <a:lnTo>
                  <a:pt x="12069" y="7519"/>
                </a:lnTo>
                <a:lnTo>
                  <a:pt x="12313" y="7641"/>
                </a:lnTo>
                <a:lnTo>
                  <a:pt x="12532" y="7762"/>
                </a:lnTo>
                <a:lnTo>
                  <a:pt x="12799" y="7908"/>
                </a:lnTo>
                <a:lnTo>
                  <a:pt x="12483" y="8152"/>
                </a:lnTo>
                <a:lnTo>
                  <a:pt x="12410" y="8054"/>
                </a:lnTo>
                <a:lnTo>
                  <a:pt x="12337" y="7981"/>
                </a:lnTo>
                <a:lnTo>
                  <a:pt x="12240" y="7908"/>
                </a:lnTo>
                <a:lnTo>
                  <a:pt x="12118" y="7860"/>
                </a:lnTo>
                <a:lnTo>
                  <a:pt x="11875" y="7762"/>
                </a:lnTo>
                <a:lnTo>
                  <a:pt x="11656" y="7689"/>
                </a:lnTo>
                <a:lnTo>
                  <a:pt x="11145" y="7470"/>
                </a:lnTo>
                <a:lnTo>
                  <a:pt x="10901" y="7349"/>
                </a:lnTo>
                <a:lnTo>
                  <a:pt x="10634" y="7251"/>
                </a:lnTo>
                <a:lnTo>
                  <a:pt x="11437" y="7057"/>
                </a:lnTo>
                <a:close/>
                <a:moveTo>
                  <a:pt x="10439" y="7324"/>
                </a:moveTo>
                <a:lnTo>
                  <a:pt x="10512" y="7422"/>
                </a:lnTo>
                <a:lnTo>
                  <a:pt x="10609" y="7495"/>
                </a:lnTo>
                <a:lnTo>
                  <a:pt x="10828" y="7665"/>
                </a:lnTo>
                <a:lnTo>
                  <a:pt x="11047" y="7787"/>
                </a:lnTo>
                <a:lnTo>
                  <a:pt x="11291" y="7884"/>
                </a:lnTo>
                <a:lnTo>
                  <a:pt x="11996" y="8176"/>
                </a:lnTo>
                <a:lnTo>
                  <a:pt x="12167" y="8249"/>
                </a:lnTo>
                <a:lnTo>
                  <a:pt x="12215" y="8273"/>
                </a:lnTo>
                <a:lnTo>
                  <a:pt x="12288" y="8298"/>
                </a:lnTo>
                <a:lnTo>
                  <a:pt x="11996" y="8541"/>
                </a:lnTo>
                <a:lnTo>
                  <a:pt x="11972" y="8541"/>
                </a:lnTo>
                <a:lnTo>
                  <a:pt x="11583" y="8444"/>
                </a:lnTo>
                <a:lnTo>
                  <a:pt x="11218" y="8322"/>
                </a:lnTo>
                <a:lnTo>
                  <a:pt x="10853" y="8152"/>
                </a:lnTo>
                <a:lnTo>
                  <a:pt x="10512" y="7957"/>
                </a:lnTo>
                <a:lnTo>
                  <a:pt x="10098" y="7714"/>
                </a:lnTo>
                <a:lnTo>
                  <a:pt x="9879" y="7592"/>
                </a:lnTo>
                <a:lnTo>
                  <a:pt x="9660" y="7495"/>
                </a:lnTo>
                <a:lnTo>
                  <a:pt x="10439" y="7324"/>
                </a:lnTo>
                <a:close/>
                <a:moveTo>
                  <a:pt x="8225" y="8103"/>
                </a:moveTo>
                <a:lnTo>
                  <a:pt x="8638" y="8249"/>
                </a:lnTo>
                <a:lnTo>
                  <a:pt x="9028" y="8419"/>
                </a:lnTo>
                <a:lnTo>
                  <a:pt x="8930" y="8517"/>
                </a:lnTo>
                <a:lnTo>
                  <a:pt x="8784" y="8638"/>
                </a:lnTo>
                <a:lnTo>
                  <a:pt x="8711" y="8711"/>
                </a:lnTo>
                <a:lnTo>
                  <a:pt x="8687" y="8784"/>
                </a:lnTo>
                <a:lnTo>
                  <a:pt x="8225" y="8103"/>
                </a:lnTo>
                <a:close/>
                <a:moveTo>
                  <a:pt x="7689" y="8663"/>
                </a:moveTo>
                <a:lnTo>
                  <a:pt x="7714" y="9003"/>
                </a:lnTo>
                <a:lnTo>
                  <a:pt x="7689" y="9003"/>
                </a:lnTo>
                <a:lnTo>
                  <a:pt x="7519" y="8930"/>
                </a:lnTo>
                <a:lnTo>
                  <a:pt x="7665" y="8687"/>
                </a:lnTo>
                <a:lnTo>
                  <a:pt x="7689" y="8663"/>
                </a:lnTo>
                <a:close/>
                <a:moveTo>
                  <a:pt x="9344" y="7592"/>
                </a:moveTo>
                <a:lnTo>
                  <a:pt x="9612" y="7787"/>
                </a:lnTo>
                <a:lnTo>
                  <a:pt x="9904" y="7981"/>
                </a:lnTo>
                <a:lnTo>
                  <a:pt x="10463" y="8322"/>
                </a:lnTo>
                <a:lnTo>
                  <a:pt x="10755" y="8492"/>
                </a:lnTo>
                <a:lnTo>
                  <a:pt x="11047" y="8638"/>
                </a:lnTo>
                <a:lnTo>
                  <a:pt x="11364" y="8760"/>
                </a:lnTo>
                <a:lnTo>
                  <a:pt x="11680" y="8833"/>
                </a:lnTo>
                <a:lnTo>
                  <a:pt x="11510" y="9003"/>
                </a:lnTo>
                <a:lnTo>
                  <a:pt x="11485" y="9028"/>
                </a:lnTo>
                <a:lnTo>
                  <a:pt x="10463" y="8565"/>
                </a:lnTo>
                <a:lnTo>
                  <a:pt x="9952" y="8371"/>
                </a:lnTo>
                <a:lnTo>
                  <a:pt x="9417" y="8176"/>
                </a:lnTo>
                <a:lnTo>
                  <a:pt x="8979" y="7981"/>
                </a:lnTo>
                <a:lnTo>
                  <a:pt x="8736" y="7884"/>
                </a:lnTo>
                <a:lnTo>
                  <a:pt x="8468" y="7811"/>
                </a:lnTo>
                <a:lnTo>
                  <a:pt x="8906" y="7714"/>
                </a:lnTo>
                <a:lnTo>
                  <a:pt x="9344" y="7592"/>
                </a:lnTo>
                <a:close/>
                <a:moveTo>
                  <a:pt x="9368" y="8565"/>
                </a:moveTo>
                <a:lnTo>
                  <a:pt x="9733" y="8687"/>
                </a:lnTo>
                <a:lnTo>
                  <a:pt x="9660" y="8760"/>
                </a:lnTo>
                <a:lnTo>
                  <a:pt x="9198" y="9076"/>
                </a:lnTo>
                <a:lnTo>
                  <a:pt x="9101" y="9149"/>
                </a:lnTo>
                <a:lnTo>
                  <a:pt x="9003" y="9247"/>
                </a:lnTo>
                <a:lnTo>
                  <a:pt x="8760" y="8906"/>
                </a:lnTo>
                <a:lnTo>
                  <a:pt x="8784" y="8906"/>
                </a:lnTo>
                <a:lnTo>
                  <a:pt x="8930" y="8809"/>
                </a:lnTo>
                <a:lnTo>
                  <a:pt x="9052" y="8711"/>
                </a:lnTo>
                <a:lnTo>
                  <a:pt x="9174" y="8638"/>
                </a:lnTo>
                <a:lnTo>
                  <a:pt x="9344" y="8590"/>
                </a:lnTo>
                <a:lnTo>
                  <a:pt x="9368" y="8565"/>
                </a:lnTo>
                <a:close/>
                <a:moveTo>
                  <a:pt x="828" y="6181"/>
                </a:moveTo>
                <a:lnTo>
                  <a:pt x="1168" y="6302"/>
                </a:lnTo>
                <a:lnTo>
                  <a:pt x="1533" y="6400"/>
                </a:lnTo>
                <a:lnTo>
                  <a:pt x="2239" y="6546"/>
                </a:lnTo>
                <a:lnTo>
                  <a:pt x="2507" y="6570"/>
                </a:lnTo>
                <a:lnTo>
                  <a:pt x="2750" y="6594"/>
                </a:lnTo>
                <a:lnTo>
                  <a:pt x="3018" y="6619"/>
                </a:lnTo>
                <a:lnTo>
                  <a:pt x="3285" y="6643"/>
                </a:lnTo>
                <a:lnTo>
                  <a:pt x="4356" y="6911"/>
                </a:lnTo>
                <a:lnTo>
                  <a:pt x="5159" y="7081"/>
                </a:lnTo>
                <a:lnTo>
                  <a:pt x="5938" y="7300"/>
                </a:lnTo>
                <a:lnTo>
                  <a:pt x="7519" y="7762"/>
                </a:lnTo>
                <a:lnTo>
                  <a:pt x="6546" y="8273"/>
                </a:lnTo>
                <a:lnTo>
                  <a:pt x="5548" y="8736"/>
                </a:lnTo>
                <a:lnTo>
                  <a:pt x="4697" y="9076"/>
                </a:lnTo>
                <a:lnTo>
                  <a:pt x="4453" y="9198"/>
                </a:lnTo>
                <a:lnTo>
                  <a:pt x="4332" y="9271"/>
                </a:lnTo>
                <a:lnTo>
                  <a:pt x="4234" y="9368"/>
                </a:lnTo>
                <a:lnTo>
                  <a:pt x="4210" y="9320"/>
                </a:lnTo>
                <a:lnTo>
                  <a:pt x="3991" y="9003"/>
                </a:lnTo>
                <a:lnTo>
                  <a:pt x="3748" y="8687"/>
                </a:lnTo>
                <a:lnTo>
                  <a:pt x="3456" y="8395"/>
                </a:lnTo>
                <a:lnTo>
                  <a:pt x="3164" y="8127"/>
                </a:lnTo>
                <a:lnTo>
                  <a:pt x="2531" y="7616"/>
                </a:lnTo>
                <a:lnTo>
                  <a:pt x="2239" y="7373"/>
                </a:lnTo>
                <a:lnTo>
                  <a:pt x="1947" y="7105"/>
                </a:lnTo>
                <a:lnTo>
                  <a:pt x="1728" y="6911"/>
                </a:lnTo>
                <a:lnTo>
                  <a:pt x="1485" y="6716"/>
                </a:lnTo>
                <a:lnTo>
                  <a:pt x="1047" y="6375"/>
                </a:lnTo>
                <a:lnTo>
                  <a:pt x="828" y="6181"/>
                </a:lnTo>
                <a:close/>
                <a:moveTo>
                  <a:pt x="10098" y="8833"/>
                </a:moveTo>
                <a:lnTo>
                  <a:pt x="10658" y="9076"/>
                </a:lnTo>
                <a:lnTo>
                  <a:pt x="10366" y="9247"/>
                </a:lnTo>
                <a:lnTo>
                  <a:pt x="10098" y="9393"/>
                </a:lnTo>
                <a:lnTo>
                  <a:pt x="9758" y="9612"/>
                </a:lnTo>
                <a:lnTo>
                  <a:pt x="9612" y="9758"/>
                </a:lnTo>
                <a:lnTo>
                  <a:pt x="9466" y="9904"/>
                </a:lnTo>
                <a:lnTo>
                  <a:pt x="9125" y="9417"/>
                </a:lnTo>
                <a:lnTo>
                  <a:pt x="9198" y="9393"/>
                </a:lnTo>
                <a:lnTo>
                  <a:pt x="9271" y="9368"/>
                </a:lnTo>
                <a:lnTo>
                  <a:pt x="9417" y="9271"/>
                </a:lnTo>
                <a:lnTo>
                  <a:pt x="9660" y="9101"/>
                </a:lnTo>
                <a:lnTo>
                  <a:pt x="10098" y="8857"/>
                </a:lnTo>
                <a:lnTo>
                  <a:pt x="10098" y="8833"/>
                </a:lnTo>
                <a:close/>
                <a:moveTo>
                  <a:pt x="7324" y="9174"/>
                </a:moveTo>
                <a:lnTo>
                  <a:pt x="7446" y="9222"/>
                </a:lnTo>
                <a:lnTo>
                  <a:pt x="7519" y="9295"/>
                </a:lnTo>
                <a:lnTo>
                  <a:pt x="7738" y="9393"/>
                </a:lnTo>
                <a:lnTo>
                  <a:pt x="7738" y="9855"/>
                </a:lnTo>
                <a:lnTo>
                  <a:pt x="7738" y="10001"/>
                </a:lnTo>
                <a:lnTo>
                  <a:pt x="7495" y="9855"/>
                </a:lnTo>
                <a:lnTo>
                  <a:pt x="7251" y="9733"/>
                </a:lnTo>
                <a:lnTo>
                  <a:pt x="7105" y="9685"/>
                </a:lnTo>
                <a:lnTo>
                  <a:pt x="6984" y="9660"/>
                </a:lnTo>
                <a:lnTo>
                  <a:pt x="7324" y="9174"/>
                </a:lnTo>
                <a:close/>
                <a:moveTo>
                  <a:pt x="6911" y="9758"/>
                </a:moveTo>
                <a:lnTo>
                  <a:pt x="7008" y="9879"/>
                </a:lnTo>
                <a:lnTo>
                  <a:pt x="7130" y="10001"/>
                </a:lnTo>
                <a:lnTo>
                  <a:pt x="7373" y="10196"/>
                </a:lnTo>
                <a:lnTo>
                  <a:pt x="7543" y="10317"/>
                </a:lnTo>
                <a:lnTo>
                  <a:pt x="7762" y="10415"/>
                </a:lnTo>
                <a:lnTo>
                  <a:pt x="7762" y="10926"/>
                </a:lnTo>
                <a:lnTo>
                  <a:pt x="7470" y="10707"/>
                </a:lnTo>
                <a:lnTo>
                  <a:pt x="7203" y="10488"/>
                </a:lnTo>
                <a:lnTo>
                  <a:pt x="7057" y="10415"/>
                </a:lnTo>
                <a:lnTo>
                  <a:pt x="6911" y="10317"/>
                </a:lnTo>
                <a:lnTo>
                  <a:pt x="6741" y="10269"/>
                </a:lnTo>
                <a:lnTo>
                  <a:pt x="6570" y="10244"/>
                </a:lnTo>
                <a:lnTo>
                  <a:pt x="6911" y="9758"/>
                </a:lnTo>
                <a:close/>
                <a:moveTo>
                  <a:pt x="11072" y="9271"/>
                </a:moveTo>
                <a:lnTo>
                  <a:pt x="11291" y="9368"/>
                </a:lnTo>
                <a:lnTo>
                  <a:pt x="11266" y="9490"/>
                </a:lnTo>
                <a:lnTo>
                  <a:pt x="11266" y="9612"/>
                </a:lnTo>
                <a:lnTo>
                  <a:pt x="11096" y="9685"/>
                </a:lnTo>
                <a:lnTo>
                  <a:pt x="10950" y="9782"/>
                </a:lnTo>
                <a:lnTo>
                  <a:pt x="10658" y="9977"/>
                </a:lnTo>
                <a:lnTo>
                  <a:pt x="10293" y="10220"/>
                </a:lnTo>
                <a:lnTo>
                  <a:pt x="10123" y="10366"/>
                </a:lnTo>
                <a:lnTo>
                  <a:pt x="10050" y="10439"/>
                </a:lnTo>
                <a:lnTo>
                  <a:pt x="10001" y="10536"/>
                </a:lnTo>
                <a:lnTo>
                  <a:pt x="10001" y="10585"/>
                </a:lnTo>
                <a:lnTo>
                  <a:pt x="10025" y="10609"/>
                </a:lnTo>
                <a:lnTo>
                  <a:pt x="10123" y="10609"/>
                </a:lnTo>
                <a:lnTo>
                  <a:pt x="10220" y="10585"/>
                </a:lnTo>
                <a:lnTo>
                  <a:pt x="10390" y="10512"/>
                </a:lnTo>
                <a:lnTo>
                  <a:pt x="10561" y="10390"/>
                </a:lnTo>
                <a:lnTo>
                  <a:pt x="10731" y="10269"/>
                </a:lnTo>
                <a:lnTo>
                  <a:pt x="10999" y="10074"/>
                </a:lnTo>
                <a:lnTo>
                  <a:pt x="11291" y="9904"/>
                </a:lnTo>
                <a:lnTo>
                  <a:pt x="11339" y="10171"/>
                </a:lnTo>
                <a:lnTo>
                  <a:pt x="11412" y="10390"/>
                </a:lnTo>
                <a:lnTo>
                  <a:pt x="11145" y="10488"/>
                </a:lnTo>
                <a:lnTo>
                  <a:pt x="10877" y="10634"/>
                </a:lnTo>
                <a:lnTo>
                  <a:pt x="10731" y="10682"/>
                </a:lnTo>
                <a:lnTo>
                  <a:pt x="10561" y="10804"/>
                </a:lnTo>
                <a:lnTo>
                  <a:pt x="10415" y="10926"/>
                </a:lnTo>
                <a:lnTo>
                  <a:pt x="10342" y="10999"/>
                </a:lnTo>
                <a:lnTo>
                  <a:pt x="10317" y="11072"/>
                </a:lnTo>
                <a:lnTo>
                  <a:pt x="9879" y="10463"/>
                </a:lnTo>
                <a:lnTo>
                  <a:pt x="9587" y="10050"/>
                </a:lnTo>
                <a:lnTo>
                  <a:pt x="9733" y="10001"/>
                </a:lnTo>
                <a:lnTo>
                  <a:pt x="9904" y="9928"/>
                </a:lnTo>
                <a:lnTo>
                  <a:pt x="10196" y="9758"/>
                </a:lnTo>
                <a:lnTo>
                  <a:pt x="10634" y="9514"/>
                </a:lnTo>
                <a:lnTo>
                  <a:pt x="11047" y="9295"/>
                </a:lnTo>
                <a:lnTo>
                  <a:pt x="11072" y="9271"/>
                </a:lnTo>
                <a:close/>
                <a:moveTo>
                  <a:pt x="11534" y="10780"/>
                </a:moveTo>
                <a:lnTo>
                  <a:pt x="11656" y="11193"/>
                </a:lnTo>
                <a:lnTo>
                  <a:pt x="11631" y="11193"/>
                </a:lnTo>
                <a:lnTo>
                  <a:pt x="11437" y="11364"/>
                </a:lnTo>
                <a:lnTo>
                  <a:pt x="11218" y="11510"/>
                </a:lnTo>
                <a:lnTo>
                  <a:pt x="11023" y="11631"/>
                </a:lnTo>
                <a:lnTo>
                  <a:pt x="10828" y="11753"/>
                </a:lnTo>
                <a:lnTo>
                  <a:pt x="10804" y="11777"/>
                </a:lnTo>
                <a:lnTo>
                  <a:pt x="10439" y="11242"/>
                </a:lnTo>
                <a:lnTo>
                  <a:pt x="10512" y="11242"/>
                </a:lnTo>
                <a:lnTo>
                  <a:pt x="10585" y="11218"/>
                </a:lnTo>
                <a:lnTo>
                  <a:pt x="10731" y="11145"/>
                </a:lnTo>
                <a:lnTo>
                  <a:pt x="10999" y="10974"/>
                </a:lnTo>
                <a:lnTo>
                  <a:pt x="11534" y="10780"/>
                </a:lnTo>
                <a:close/>
                <a:moveTo>
                  <a:pt x="6522" y="10342"/>
                </a:moveTo>
                <a:lnTo>
                  <a:pt x="6668" y="10439"/>
                </a:lnTo>
                <a:lnTo>
                  <a:pt x="6838" y="10561"/>
                </a:lnTo>
                <a:lnTo>
                  <a:pt x="7105" y="10853"/>
                </a:lnTo>
                <a:lnTo>
                  <a:pt x="7251" y="10999"/>
                </a:lnTo>
                <a:lnTo>
                  <a:pt x="7397" y="11120"/>
                </a:lnTo>
                <a:lnTo>
                  <a:pt x="7568" y="11218"/>
                </a:lnTo>
                <a:lnTo>
                  <a:pt x="7738" y="11291"/>
                </a:lnTo>
                <a:lnTo>
                  <a:pt x="7762" y="11291"/>
                </a:lnTo>
                <a:lnTo>
                  <a:pt x="7762" y="12021"/>
                </a:lnTo>
                <a:lnTo>
                  <a:pt x="7665" y="11948"/>
                </a:lnTo>
                <a:lnTo>
                  <a:pt x="7568" y="11875"/>
                </a:lnTo>
                <a:lnTo>
                  <a:pt x="7397" y="11704"/>
                </a:lnTo>
                <a:lnTo>
                  <a:pt x="7057" y="11364"/>
                </a:lnTo>
                <a:lnTo>
                  <a:pt x="6862" y="11193"/>
                </a:lnTo>
                <a:lnTo>
                  <a:pt x="6619" y="11072"/>
                </a:lnTo>
                <a:lnTo>
                  <a:pt x="6376" y="10999"/>
                </a:lnTo>
                <a:lnTo>
                  <a:pt x="6132" y="10926"/>
                </a:lnTo>
                <a:lnTo>
                  <a:pt x="6522" y="10342"/>
                </a:lnTo>
                <a:close/>
                <a:moveTo>
                  <a:pt x="11753" y="11510"/>
                </a:moveTo>
                <a:lnTo>
                  <a:pt x="11826" y="11802"/>
                </a:lnTo>
                <a:lnTo>
                  <a:pt x="11704" y="11826"/>
                </a:lnTo>
                <a:lnTo>
                  <a:pt x="11607" y="11899"/>
                </a:lnTo>
                <a:lnTo>
                  <a:pt x="11412" y="12021"/>
                </a:lnTo>
                <a:lnTo>
                  <a:pt x="11291" y="12167"/>
                </a:lnTo>
                <a:lnTo>
                  <a:pt x="11218" y="12240"/>
                </a:lnTo>
                <a:lnTo>
                  <a:pt x="11193" y="12313"/>
                </a:lnTo>
                <a:lnTo>
                  <a:pt x="10901" y="11899"/>
                </a:lnTo>
                <a:lnTo>
                  <a:pt x="11120" y="11850"/>
                </a:lnTo>
                <a:lnTo>
                  <a:pt x="11339" y="11777"/>
                </a:lnTo>
                <a:lnTo>
                  <a:pt x="11558" y="11656"/>
                </a:lnTo>
                <a:lnTo>
                  <a:pt x="11753" y="11510"/>
                </a:lnTo>
                <a:close/>
                <a:moveTo>
                  <a:pt x="6059" y="11047"/>
                </a:moveTo>
                <a:lnTo>
                  <a:pt x="6303" y="11218"/>
                </a:lnTo>
                <a:lnTo>
                  <a:pt x="6546" y="11388"/>
                </a:lnTo>
                <a:lnTo>
                  <a:pt x="6789" y="11583"/>
                </a:lnTo>
                <a:lnTo>
                  <a:pt x="6984" y="11802"/>
                </a:lnTo>
                <a:lnTo>
                  <a:pt x="7251" y="12069"/>
                </a:lnTo>
                <a:lnTo>
                  <a:pt x="7397" y="12215"/>
                </a:lnTo>
                <a:lnTo>
                  <a:pt x="7543" y="12313"/>
                </a:lnTo>
                <a:lnTo>
                  <a:pt x="7276" y="12459"/>
                </a:lnTo>
                <a:lnTo>
                  <a:pt x="7154" y="12386"/>
                </a:lnTo>
                <a:lnTo>
                  <a:pt x="7008" y="12337"/>
                </a:lnTo>
                <a:lnTo>
                  <a:pt x="6765" y="12215"/>
                </a:lnTo>
                <a:lnTo>
                  <a:pt x="6522" y="12069"/>
                </a:lnTo>
                <a:lnTo>
                  <a:pt x="6327" y="11948"/>
                </a:lnTo>
                <a:lnTo>
                  <a:pt x="6157" y="11802"/>
                </a:lnTo>
                <a:lnTo>
                  <a:pt x="5962" y="11656"/>
                </a:lnTo>
                <a:lnTo>
                  <a:pt x="5767" y="11534"/>
                </a:lnTo>
                <a:lnTo>
                  <a:pt x="6059" y="11047"/>
                </a:lnTo>
                <a:close/>
                <a:moveTo>
                  <a:pt x="5670" y="11680"/>
                </a:moveTo>
                <a:lnTo>
                  <a:pt x="5719" y="11777"/>
                </a:lnTo>
                <a:lnTo>
                  <a:pt x="5792" y="11850"/>
                </a:lnTo>
                <a:lnTo>
                  <a:pt x="5938" y="12021"/>
                </a:lnTo>
                <a:lnTo>
                  <a:pt x="6108" y="12167"/>
                </a:lnTo>
                <a:lnTo>
                  <a:pt x="6278" y="12288"/>
                </a:lnTo>
                <a:lnTo>
                  <a:pt x="6546" y="12483"/>
                </a:lnTo>
                <a:lnTo>
                  <a:pt x="6716" y="12580"/>
                </a:lnTo>
                <a:lnTo>
                  <a:pt x="6887" y="12678"/>
                </a:lnTo>
                <a:lnTo>
                  <a:pt x="6522" y="12848"/>
                </a:lnTo>
                <a:lnTo>
                  <a:pt x="6230" y="12653"/>
                </a:lnTo>
                <a:lnTo>
                  <a:pt x="5938" y="12434"/>
                </a:lnTo>
                <a:lnTo>
                  <a:pt x="5694" y="12215"/>
                </a:lnTo>
                <a:lnTo>
                  <a:pt x="5475" y="12021"/>
                </a:lnTo>
                <a:lnTo>
                  <a:pt x="5621" y="11777"/>
                </a:lnTo>
                <a:lnTo>
                  <a:pt x="5670" y="11680"/>
                </a:lnTo>
                <a:close/>
                <a:moveTo>
                  <a:pt x="11899" y="12094"/>
                </a:moveTo>
                <a:lnTo>
                  <a:pt x="12021" y="12605"/>
                </a:lnTo>
                <a:lnTo>
                  <a:pt x="11899" y="12726"/>
                </a:lnTo>
                <a:lnTo>
                  <a:pt x="11777" y="12848"/>
                </a:lnTo>
                <a:lnTo>
                  <a:pt x="11729" y="12921"/>
                </a:lnTo>
                <a:lnTo>
                  <a:pt x="11680" y="12994"/>
                </a:lnTo>
                <a:lnTo>
                  <a:pt x="11680" y="13018"/>
                </a:lnTo>
                <a:lnTo>
                  <a:pt x="11266" y="12434"/>
                </a:lnTo>
                <a:lnTo>
                  <a:pt x="11412" y="12386"/>
                </a:lnTo>
                <a:lnTo>
                  <a:pt x="11558" y="12313"/>
                </a:lnTo>
                <a:lnTo>
                  <a:pt x="11729" y="12215"/>
                </a:lnTo>
                <a:lnTo>
                  <a:pt x="11899" y="12094"/>
                </a:lnTo>
                <a:close/>
                <a:moveTo>
                  <a:pt x="5329" y="12240"/>
                </a:moveTo>
                <a:lnTo>
                  <a:pt x="5402" y="12361"/>
                </a:lnTo>
                <a:lnTo>
                  <a:pt x="5500" y="12483"/>
                </a:lnTo>
                <a:lnTo>
                  <a:pt x="5670" y="12678"/>
                </a:lnTo>
                <a:lnTo>
                  <a:pt x="5913" y="12897"/>
                </a:lnTo>
                <a:lnTo>
                  <a:pt x="6157" y="13067"/>
                </a:lnTo>
                <a:lnTo>
                  <a:pt x="5743" y="13335"/>
                </a:lnTo>
                <a:lnTo>
                  <a:pt x="5646" y="13310"/>
                </a:lnTo>
                <a:lnTo>
                  <a:pt x="5475" y="13237"/>
                </a:lnTo>
                <a:lnTo>
                  <a:pt x="5305" y="13164"/>
                </a:lnTo>
                <a:lnTo>
                  <a:pt x="5135" y="13043"/>
                </a:lnTo>
                <a:lnTo>
                  <a:pt x="4940" y="12970"/>
                </a:lnTo>
                <a:lnTo>
                  <a:pt x="4891" y="12945"/>
                </a:lnTo>
                <a:lnTo>
                  <a:pt x="5110" y="12605"/>
                </a:lnTo>
                <a:lnTo>
                  <a:pt x="5329" y="12240"/>
                </a:lnTo>
                <a:close/>
                <a:moveTo>
                  <a:pt x="12094" y="13043"/>
                </a:moveTo>
                <a:lnTo>
                  <a:pt x="12215" y="13748"/>
                </a:lnTo>
                <a:lnTo>
                  <a:pt x="11802" y="13189"/>
                </a:lnTo>
                <a:lnTo>
                  <a:pt x="11850" y="13189"/>
                </a:lnTo>
                <a:lnTo>
                  <a:pt x="11923" y="13164"/>
                </a:lnTo>
                <a:lnTo>
                  <a:pt x="11972" y="13140"/>
                </a:lnTo>
                <a:lnTo>
                  <a:pt x="12094" y="13043"/>
                </a:lnTo>
                <a:close/>
                <a:moveTo>
                  <a:pt x="4745" y="13140"/>
                </a:moveTo>
                <a:lnTo>
                  <a:pt x="4891" y="13310"/>
                </a:lnTo>
                <a:lnTo>
                  <a:pt x="5062" y="13456"/>
                </a:lnTo>
                <a:lnTo>
                  <a:pt x="5305" y="13602"/>
                </a:lnTo>
                <a:lnTo>
                  <a:pt x="4964" y="13846"/>
                </a:lnTo>
                <a:lnTo>
                  <a:pt x="4891" y="13773"/>
                </a:lnTo>
                <a:lnTo>
                  <a:pt x="4818" y="13700"/>
                </a:lnTo>
                <a:lnTo>
                  <a:pt x="4648" y="13627"/>
                </a:lnTo>
                <a:lnTo>
                  <a:pt x="4551" y="13554"/>
                </a:lnTo>
                <a:lnTo>
                  <a:pt x="4405" y="13529"/>
                </a:lnTo>
                <a:lnTo>
                  <a:pt x="4575" y="13335"/>
                </a:lnTo>
                <a:lnTo>
                  <a:pt x="4745" y="13140"/>
                </a:lnTo>
                <a:close/>
                <a:moveTo>
                  <a:pt x="8200" y="8833"/>
                </a:moveTo>
                <a:lnTo>
                  <a:pt x="8371" y="9076"/>
                </a:lnTo>
                <a:lnTo>
                  <a:pt x="8663" y="9514"/>
                </a:lnTo>
                <a:lnTo>
                  <a:pt x="8979" y="9928"/>
                </a:lnTo>
                <a:lnTo>
                  <a:pt x="9587" y="10780"/>
                </a:lnTo>
                <a:lnTo>
                  <a:pt x="10171" y="11583"/>
                </a:lnTo>
                <a:lnTo>
                  <a:pt x="10731" y="12410"/>
                </a:lnTo>
                <a:lnTo>
                  <a:pt x="11291" y="13213"/>
                </a:lnTo>
                <a:lnTo>
                  <a:pt x="11850" y="13992"/>
                </a:lnTo>
                <a:lnTo>
                  <a:pt x="11729" y="13943"/>
                </a:lnTo>
                <a:lnTo>
                  <a:pt x="11072" y="13554"/>
                </a:lnTo>
                <a:lnTo>
                  <a:pt x="10415" y="13189"/>
                </a:lnTo>
                <a:lnTo>
                  <a:pt x="9831" y="12921"/>
                </a:lnTo>
                <a:lnTo>
                  <a:pt x="9539" y="12799"/>
                </a:lnTo>
                <a:lnTo>
                  <a:pt x="9222" y="12678"/>
                </a:lnTo>
                <a:lnTo>
                  <a:pt x="8760" y="12507"/>
                </a:lnTo>
                <a:lnTo>
                  <a:pt x="8517" y="12410"/>
                </a:lnTo>
                <a:lnTo>
                  <a:pt x="8273" y="12337"/>
                </a:lnTo>
                <a:lnTo>
                  <a:pt x="8273" y="12288"/>
                </a:lnTo>
                <a:lnTo>
                  <a:pt x="8322" y="11996"/>
                </a:lnTo>
                <a:lnTo>
                  <a:pt x="8346" y="11680"/>
                </a:lnTo>
                <a:lnTo>
                  <a:pt x="8346" y="11388"/>
                </a:lnTo>
                <a:lnTo>
                  <a:pt x="8322" y="11072"/>
                </a:lnTo>
                <a:lnTo>
                  <a:pt x="8273" y="10463"/>
                </a:lnTo>
                <a:lnTo>
                  <a:pt x="8225" y="9855"/>
                </a:lnTo>
                <a:lnTo>
                  <a:pt x="8200" y="8833"/>
                </a:lnTo>
                <a:close/>
                <a:moveTo>
                  <a:pt x="7324" y="8346"/>
                </a:moveTo>
                <a:lnTo>
                  <a:pt x="6935" y="8906"/>
                </a:lnTo>
                <a:lnTo>
                  <a:pt x="6570" y="9441"/>
                </a:lnTo>
                <a:lnTo>
                  <a:pt x="5962" y="10439"/>
                </a:lnTo>
                <a:lnTo>
                  <a:pt x="5354" y="11437"/>
                </a:lnTo>
                <a:lnTo>
                  <a:pt x="4818" y="12386"/>
                </a:lnTo>
                <a:lnTo>
                  <a:pt x="4502" y="12848"/>
                </a:lnTo>
                <a:lnTo>
                  <a:pt x="4356" y="13067"/>
                </a:lnTo>
                <a:lnTo>
                  <a:pt x="4161" y="13286"/>
                </a:lnTo>
                <a:lnTo>
                  <a:pt x="3967" y="13529"/>
                </a:lnTo>
                <a:lnTo>
                  <a:pt x="3796" y="13773"/>
                </a:lnTo>
                <a:lnTo>
                  <a:pt x="3650" y="14040"/>
                </a:lnTo>
                <a:lnTo>
                  <a:pt x="3504" y="14308"/>
                </a:lnTo>
                <a:lnTo>
                  <a:pt x="3577" y="13578"/>
                </a:lnTo>
                <a:lnTo>
                  <a:pt x="3699" y="12897"/>
                </a:lnTo>
                <a:lnTo>
                  <a:pt x="3821" y="12215"/>
                </a:lnTo>
                <a:lnTo>
                  <a:pt x="3967" y="11558"/>
                </a:lnTo>
                <a:lnTo>
                  <a:pt x="4113" y="10926"/>
                </a:lnTo>
                <a:lnTo>
                  <a:pt x="4234" y="10269"/>
                </a:lnTo>
                <a:lnTo>
                  <a:pt x="4332" y="9612"/>
                </a:lnTo>
                <a:lnTo>
                  <a:pt x="4307" y="9539"/>
                </a:lnTo>
                <a:lnTo>
                  <a:pt x="4453" y="9587"/>
                </a:lnTo>
                <a:lnTo>
                  <a:pt x="4624" y="9563"/>
                </a:lnTo>
                <a:lnTo>
                  <a:pt x="4818" y="9514"/>
                </a:lnTo>
                <a:lnTo>
                  <a:pt x="5013" y="9441"/>
                </a:lnTo>
                <a:lnTo>
                  <a:pt x="5354" y="9271"/>
                </a:lnTo>
                <a:lnTo>
                  <a:pt x="5646" y="9149"/>
                </a:lnTo>
                <a:lnTo>
                  <a:pt x="6497" y="8760"/>
                </a:lnTo>
                <a:lnTo>
                  <a:pt x="7324" y="8346"/>
                </a:lnTo>
                <a:close/>
                <a:moveTo>
                  <a:pt x="4234" y="13700"/>
                </a:moveTo>
                <a:lnTo>
                  <a:pt x="4307" y="13773"/>
                </a:lnTo>
                <a:lnTo>
                  <a:pt x="4380" y="13821"/>
                </a:lnTo>
                <a:lnTo>
                  <a:pt x="4551" y="13943"/>
                </a:lnTo>
                <a:lnTo>
                  <a:pt x="4697" y="14016"/>
                </a:lnTo>
                <a:lnTo>
                  <a:pt x="4307" y="14259"/>
                </a:lnTo>
                <a:lnTo>
                  <a:pt x="4161" y="14332"/>
                </a:lnTo>
                <a:lnTo>
                  <a:pt x="3991" y="14405"/>
                </a:lnTo>
                <a:lnTo>
                  <a:pt x="3650" y="14502"/>
                </a:lnTo>
                <a:lnTo>
                  <a:pt x="3748" y="14429"/>
                </a:lnTo>
                <a:lnTo>
                  <a:pt x="3821" y="14332"/>
                </a:lnTo>
                <a:lnTo>
                  <a:pt x="3967" y="14113"/>
                </a:lnTo>
                <a:lnTo>
                  <a:pt x="4113" y="13894"/>
                </a:lnTo>
                <a:lnTo>
                  <a:pt x="4234" y="13700"/>
                </a:lnTo>
                <a:close/>
                <a:moveTo>
                  <a:pt x="7835" y="0"/>
                </a:moveTo>
                <a:lnTo>
                  <a:pt x="7762" y="25"/>
                </a:lnTo>
                <a:lnTo>
                  <a:pt x="7689" y="73"/>
                </a:lnTo>
                <a:lnTo>
                  <a:pt x="7641" y="73"/>
                </a:lnTo>
                <a:lnTo>
                  <a:pt x="7495" y="146"/>
                </a:lnTo>
                <a:lnTo>
                  <a:pt x="7373" y="244"/>
                </a:lnTo>
                <a:lnTo>
                  <a:pt x="7276" y="341"/>
                </a:lnTo>
                <a:lnTo>
                  <a:pt x="7178" y="463"/>
                </a:lnTo>
                <a:lnTo>
                  <a:pt x="6984" y="730"/>
                </a:lnTo>
                <a:lnTo>
                  <a:pt x="6838" y="1047"/>
                </a:lnTo>
                <a:lnTo>
                  <a:pt x="6716" y="1387"/>
                </a:lnTo>
                <a:lnTo>
                  <a:pt x="6619" y="1704"/>
                </a:lnTo>
                <a:lnTo>
                  <a:pt x="6449" y="2288"/>
                </a:lnTo>
                <a:lnTo>
                  <a:pt x="6230" y="2920"/>
                </a:lnTo>
                <a:lnTo>
                  <a:pt x="6108" y="3237"/>
                </a:lnTo>
                <a:lnTo>
                  <a:pt x="5962" y="3529"/>
                </a:lnTo>
                <a:lnTo>
                  <a:pt x="5767" y="3845"/>
                </a:lnTo>
                <a:lnTo>
                  <a:pt x="5548" y="4161"/>
                </a:lnTo>
                <a:lnTo>
                  <a:pt x="5378" y="4478"/>
                </a:lnTo>
                <a:lnTo>
                  <a:pt x="5281" y="4648"/>
                </a:lnTo>
                <a:lnTo>
                  <a:pt x="5208" y="4818"/>
                </a:lnTo>
                <a:lnTo>
                  <a:pt x="4891" y="4916"/>
                </a:lnTo>
                <a:lnTo>
                  <a:pt x="4575" y="4989"/>
                </a:lnTo>
                <a:lnTo>
                  <a:pt x="3918" y="5110"/>
                </a:lnTo>
                <a:lnTo>
                  <a:pt x="2580" y="5305"/>
                </a:lnTo>
                <a:lnTo>
                  <a:pt x="1801" y="5402"/>
                </a:lnTo>
                <a:lnTo>
                  <a:pt x="998" y="5500"/>
                </a:lnTo>
                <a:lnTo>
                  <a:pt x="755" y="5524"/>
                </a:lnTo>
                <a:lnTo>
                  <a:pt x="511" y="5524"/>
                </a:lnTo>
                <a:lnTo>
                  <a:pt x="244" y="5548"/>
                </a:lnTo>
                <a:lnTo>
                  <a:pt x="146" y="5597"/>
                </a:lnTo>
                <a:lnTo>
                  <a:pt x="49" y="5646"/>
                </a:lnTo>
                <a:lnTo>
                  <a:pt x="0" y="5719"/>
                </a:lnTo>
                <a:lnTo>
                  <a:pt x="0" y="5792"/>
                </a:lnTo>
                <a:lnTo>
                  <a:pt x="0" y="5865"/>
                </a:lnTo>
                <a:lnTo>
                  <a:pt x="0" y="5962"/>
                </a:lnTo>
                <a:lnTo>
                  <a:pt x="49" y="6035"/>
                </a:lnTo>
                <a:lnTo>
                  <a:pt x="146" y="6229"/>
                </a:lnTo>
                <a:lnTo>
                  <a:pt x="292" y="6375"/>
                </a:lnTo>
                <a:lnTo>
                  <a:pt x="438" y="6497"/>
                </a:lnTo>
                <a:lnTo>
                  <a:pt x="682" y="6716"/>
                </a:lnTo>
                <a:lnTo>
                  <a:pt x="925" y="6935"/>
                </a:lnTo>
                <a:lnTo>
                  <a:pt x="1460" y="7349"/>
                </a:lnTo>
                <a:lnTo>
                  <a:pt x="1971" y="7811"/>
                </a:lnTo>
                <a:lnTo>
                  <a:pt x="2507" y="8273"/>
                </a:lnTo>
                <a:lnTo>
                  <a:pt x="2847" y="8565"/>
                </a:lnTo>
                <a:lnTo>
                  <a:pt x="3188" y="8882"/>
                </a:lnTo>
                <a:lnTo>
                  <a:pt x="3504" y="9222"/>
                </a:lnTo>
                <a:lnTo>
                  <a:pt x="3650" y="9417"/>
                </a:lnTo>
                <a:lnTo>
                  <a:pt x="3772" y="9612"/>
                </a:lnTo>
                <a:lnTo>
                  <a:pt x="3821" y="9685"/>
                </a:lnTo>
                <a:lnTo>
                  <a:pt x="3918" y="9709"/>
                </a:lnTo>
                <a:lnTo>
                  <a:pt x="3748" y="10342"/>
                </a:lnTo>
                <a:lnTo>
                  <a:pt x="3602" y="10974"/>
                </a:lnTo>
                <a:lnTo>
                  <a:pt x="3334" y="12264"/>
                </a:lnTo>
                <a:lnTo>
                  <a:pt x="3212" y="12872"/>
                </a:lnTo>
                <a:lnTo>
                  <a:pt x="3091" y="13529"/>
                </a:lnTo>
                <a:lnTo>
                  <a:pt x="3042" y="13870"/>
                </a:lnTo>
                <a:lnTo>
                  <a:pt x="2993" y="14186"/>
                </a:lnTo>
                <a:lnTo>
                  <a:pt x="2993" y="14502"/>
                </a:lnTo>
                <a:lnTo>
                  <a:pt x="3018" y="14819"/>
                </a:lnTo>
                <a:lnTo>
                  <a:pt x="3042" y="14916"/>
                </a:lnTo>
                <a:lnTo>
                  <a:pt x="3091" y="14965"/>
                </a:lnTo>
                <a:lnTo>
                  <a:pt x="3188" y="15013"/>
                </a:lnTo>
                <a:lnTo>
                  <a:pt x="3261" y="15013"/>
                </a:lnTo>
                <a:lnTo>
                  <a:pt x="3383" y="15038"/>
                </a:lnTo>
                <a:lnTo>
                  <a:pt x="3529" y="15062"/>
                </a:lnTo>
                <a:lnTo>
                  <a:pt x="3675" y="15038"/>
                </a:lnTo>
                <a:lnTo>
                  <a:pt x="3796" y="15013"/>
                </a:lnTo>
                <a:lnTo>
                  <a:pt x="4088" y="14940"/>
                </a:lnTo>
                <a:lnTo>
                  <a:pt x="4405" y="14794"/>
                </a:lnTo>
                <a:lnTo>
                  <a:pt x="4672" y="14624"/>
                </a:lnTo>
                <a:lnTo>
                  <a:pt x="4964" y="14454"/>
                </a:lnTo>
                <a:lnTo>
                  <a:pt x="5402" y="14138"/>
                </a:lnTo>
                <a:lnTo>
                  <a:pt x="5719" y="13943"/>
                </a:lnTo>
                <a:lnTo>
                  <a:pt x="6035" y="13748"/>
                </a:lnTo>
                <a:lnTo>
                  <a:pt x="6716" y="13383"/>
                </a:lnTo>
                <a:lnTo>
                  <a:pt x="7373" y="13018"/>
                </a:lnTo>
                <a:lnTo>
                  <a:pt x="7689" y="12824"/>
                </a:lnTo>
                <a:lnTo>
                  <a:pt x="8006" y="12629"/>
                </a:lnTo>
                <a:lnTo>
                  <a:pt x="8127" y="12726"/>
                </a:lnTo>
                <a:lnTo>
                  <a:pt x="8273" y="12799"/>
                </a:lnTo>
                <a:lnTo>
                  <a:pt x="8590" y="12945"/>
                </a:lnTo>
                <a:lnTo>
                  <a:pt x="9320" y="13213"/>
                </a:lnTo>
                <a:lnTo>
                  <a:pt x="9685" y="13383"/>
                </a:lnTo>
                <a:lnTo>
                  <a:pt x="10050" y="13554"/>
                </a:lnTo>
                <a:lnTo>
                  <a:pt x="10707" y="13894"/>
                </a:lnTo>
                <a:lnTo>
                  <a:pt x="11364" y="14283"/>
                </a:lnTo>
                <a:lnTo>
                  <a:pt x="11607" y="14454"/>
                </a:lnTo>
                <a:lnTo>
                  <a:pt x="11875" y="14624"/>
                </a:lnTo>
                <a:lnTo>
                  <a:pt x="12021" y="14697"/>
                </a:lnTo>
                <a:lnTo>
                  <a:pt x="12167" y="14770"/>
                </a:lnTo>
                <a:lnTo>
                  <a:pt x="12313" y="14794"/>
                </a:lnTo>
                <a:lnTo>
                  <a:pt x="12459" y="14770"/>
                </a:lnTo>
                <a:lnTo>
                  <a:pt x="12507" y="14770"/>
                </a:lnTo>
                <a:lnTo>
                  <a:pt x="12532" y="14721"/>
                </a:lnTo>
                <a:lnTo>
                  <a:pt x="12629" y="14697"/>
                </a:lnTo>
                <a:lnTo>
                  <a:pt x="12702" y="14648"/>
                </a:lnTo>
                <a:lnTo>
                  <a:pt x="12751" y="14575"/>
                </a:lnTo>
                <a:lnTo>
                  <a:pt x="12775" y="14478"/>
                </a:lnTo>
                <a:lnTo>
                  <a:pt x="12751" y="14065"/>
                </a:lnTo>
                <a:lnTo>
                  <a:pt x="12702" y="13651"/>
                </a:lnTo>
                <a:lnTo>
                  <a:pt x="12629" y="13262"/>
                </a:lnTo>
                <a:lnTo>
                  <a:pt x="12556" y="12848"/>
                </a:lnTo>
                <a:lnTo>
                  <a:pt x="12337" y="12045"/>
                </a:lnTo>
                <a:lnTo>
                  <a:pt x="12118" y="11242"/>
                </a:lnTo>
                <a:lnTo>
                  <a:pt x="11899" y="10463"/>
                </a:lnTo>
                <a:lnTo>
                  <a:pt x="11875" y="10390"/>
                </a:lnTo>
                <a:lnTo>
                  <a:pt x="11680" y="9685"/>
                </a:lnTo>
                <a:lnTo>
                  <a:pt x="11680" y="9636"/>
                </a:lnTo>
                <a:lnTo>
                  <a:pt x="11656" y="9563"/>
                </a:lnTo>
                <a:lnTo>
                  <a:pt x="11631" y="9514"/>
                </a:lnTo>
                <a:lnTo>
                  <a:pt x="11680" y="9490"/>
                </a:lnTo>
                <a:lnTo>
                  <a:pt x="11729" y="9466"/>
                </a:lnTo>
                <a:lnTo>
                  <a:pt x="11802" y="9393"/>
                </a:lnTo>
                <a:lnTo>
                  <a:pt x="11850" y="9344"/>
                </a:lnTo>
                <a:lnTo>
                  <a:pt x="12094" y="9101"/>
                </a:lnTo>
                <a:lnTo>
                  <a:pt x="12361" y="8882"/>
                </a:lnTo>
                <a:lnTo>
                  <a:pt x="12897" y="8419"/>
                </a:lnTo>
                <a:lnTo>
                  <a:pt x="13432" y="8006"/>
                </a:lnTo>
                <a:lnTo>
                  <a:pt x="13967" y="7568"/>
                </a:lnTo>
                <a:lnTo>
                  <a:pt x="14211" y="7324"/>
                </a:lnTo>
                <a:lnTo>
                  <a:pt x="14454" y="7105"/>
                </a:lnTo>
                <a:lnTo>
                  <a:pt x="14697" y="6838"/>
                </a:lnTo>
                <a:lnTo>
                  <a:pt x="14892" y="6570"/>
                </a:lnTo>
                <a:lnTo>
                  <a:pt x="15232" y="6205"/>
                </a:lnTo>
                <a:lnTo>
                  <a:pt x="15403" y="5986"/>
                </a:lnTo>
                <a:lnTo>
                  <a:pt x="15451" y="5889"/>
                </a:lnTo>
                <a:lnTo>
                  <a:pt x="15500" y="5767"/>
                </a:lnTo>
                <a:lnTo>
                  <a:pt x="15500" y="5743"/>
                </a:lnTo>
                <a:lnTo>
                  <a:pt x="15476" y="5646"/>
                </a:lnTo>
                <a:lnTo>
                  <a:pt x="15427" y="5573"/>
                </a:lnTo>
                <a:lnTo>
                  <a:pt x="15354" y="5475"/>
                </a:lnTo>
                <a:lnTo>
                  <a:pt x="15257" y="5427"/>
                </a:lnTo>
                <a:lnTo>
                  <a:pt x="15135" y="5378"/>
                </a:lnTo>
                <a:lnTo>
                  <a:pt x="15013" y="5354"/>
                </a:lnTo>
                <a:lnTo>
                  <a:pt x="14770" y="5329"/>
                </a:lnTo>
                <a:lnTo>
                  <a:pt x="14527" y="5305"/>
                </a:lnTo>
                <a:lnTo>
                  <a:pt x="13797" y="5256"/>
                </a:lnTo>
                <a:lnTo>
                  <a:pt x="13091" y="5208"/>
                </a:lnTo>
                <a:lnTo>
                  <a:pt x="12410" y="5208"/>
                </a:lnTo>
                <a:lnTo>
                  <a:pt x="11753" y="5159"/>
                </a:lnTo>
                <a:lnTo>
                  <a:pt x="11485" y="5135"/>
                </a:lnTo>
                <a:lnTo>
                  <a:pt x="11218" y="5086"/>
                </a:lnTo>
                <a:lnTo>
                  <a:pt x="10950" y="5013"/>
                </a:lnTo>
                <a:lnTo>
                  <a:pt x="10682" y="4989"/>
                </a:lnTo>
                <a:lnTo>
                  <a:pt x="10658" y="4940"/>
                </a:lnTo>
                <a:lnTo>
                  <a:pt x="10634" y="4867"/>
                </a:lnTo>
                <a:lnTo>
                  <a:pt x="10415" y="4599"/>
                </a:lnTo>
                <a:lnTo>
                  <a:pt x="10220" y="4332"/>
                </a:lnTo>
                <a:lnTo>
                  <a:pt x="10025" y="4040"/>
                </a:lnTo>
                <a:lnTo>
                  <a:pt x="9855" y="3748"/>
                </a:lnTo>
                <a:lnTo>
                  <a:pt x="9514" y="3164"/>
                </a:lnTo>
                <a:lnTo>
                  <a:pt x="9222" y="2531"/>
                </a:lnTo>
                <a:lnTo>
                  <a:pt x="8638" y="1290"/>
                </a:lnTo>
                <a:lnTo>
                  <a:pt x="8322" y="682"/>
                </a:lnTo>
                <a:lnTo>
                  <a:pt x="7981" y="73"/>
                </a:lnTo>
                <a:lnTo>
                  <a:pt x="7908" y="25"/>
                </a:lnTo>
                <a:lnTo>
                  <a:pt x="7835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686" name="TextShape 5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16AAC309-D051-49B2-8EF2-512277C9BD3E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25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687" name="CustomShape 6"/>
          <p:cNvSpPr/>
          <p:nvPr/>
        </p:nvSpPr>
        <p:spPr>
          <a:xfrm>
            <a:off x="7072200" y="1177200"/>
            <a:ext cx="1099080" cy="1393920"/>
          </a:xfrm>
          <a:custGeom>
            <a:avLst/>
            <a:gdLst/>
            <a:ahLst/>
            <a:cxnLst/>
            <a:rect l="l" t="t" r="r" b="b"/>
            <a:pathLst>
              <a:path w="521117" h="660865">
                <a:moveTo>
                  <a:pt x="286048" y="97336"/>
                </a:moveTo>
                <a:cubicBezTo>
                  <a:pt x="277717" y="92820"/>
                  <a:pt x="269429" y="107049"/>
                  <a:pt x="279471" y="112421"/>
                </a:cubicBezTo>
                <a:cubicBezTo>
                  <a:pt x="287934" y="116871"/>
                  <a:pt x="296199" y="102620"/>
                  <a:pt x="286048" y="97336"/>
                </a:cubicBezTo>
                <a:close/>
                <a:moveTo>
                  <a:pt x="245992" y="93960"/>
                </a:moveTo>
                <a:lnTo>
                  <a:pt x="245992" y="93960"/>
                </a:lnTo>
                <a:cubicBezTo>
                  <a:pt x="222752" y="94377"/>
                  <a:pt x="182411" y="100801"/>
                  <a:pt x="173247" y="138927"/>
                </a:cubicBezTo>
                <a:cubicBezTo>
                  <a:pt x="171953" y="143948"/>
                  <a:pt x="175439" y="146974"/>
                  <a:pt x="180460" y="146996"/>
                </a:cubicBezTo>
                <a:cubicBezTo>
                  <a:pt x="184845" y="147206"/>
                  <a:pt x="188813" y="144347"/>
                  <a:pt x="189975" y="140111"/>
                </a:cubicBezTo>
                <a:cubicBezTo>
                  <a:pt x="196114" y="114503"/>
                  <a:pt x="225690" y="110140"/>
                  <a:pt x="242747" y="109833"/>
                </a:cubicBezTo>
                <a:cubicBezTo>
                  <a:pt x="251846" y="110075"/>
                  <a:pt x="257568" y="94135"/>
                  <a:pt x="245992" y="93894"/>
                </a:cubicBezTo>
                <a:close/>
                <a:moveTo>
                  <a:pt x="123697" y="418641"/>
                </a:moveTo>
                <a:cubicBezTo>
                  <a:pt x="120321" y="418557"/>
                  <a:pt x="117207" y="420474"/>
                  <a:pt x="115761" y="423530"/>
                </a:cubicBezTo>
                <a:cubicBezTo>
                  <a:pt x="94340" y="468256"/>
                  <a:pt x="71912" y="513421"/>
                  <a:pt x="49285" y="557401"/>
                </a:cubicBezTo>
                <a:cubicBezTo>
                  <a:pt x="44396" y="566675"/>
                  <a:pt x="59918" y="571915"/>
                  <a:pt x="64873" y="562663"/>
                </a:cubicBezTo>
                <a:cubicBezTo>
                  <a:pt x="87543" y="518595"/>
                  <a:pt x="109906" y="473584"/>
                  <a:pt x="131305" y="428923"/>
                </a:cubicBezTo>
                <a:cubicBezTo>
                  <a:pt x="134199" y="423179"/>
                  <a:pt x="129485" y="418553"/>
                  <a:pt x="123697" y="418575"/>
                </a:cubicBezTo>
                <a:close/>
                <a:moveTo>
                  <a:pt x="516804" y="178128"/>
                </a:moveTo>
                <a:cubicBezTo>
                  <a:pt x="513252" y="167561"/>
                  <a:pt x="498234" y="174993"/>
                  <a:pt x="501194" y="184114"/>
                </a:cubicBezTo>
                <a:cubicBezTo>
                  <a:pt x="508583" y="207630"/>
                  <a:pt x="504965" y="233231"/>
                  <a:pt x="491328" y="253768"/>
                </a:cubicBezTo>
                <a:cubicBezTo>
                  <a:pt x="487250" y="258964"/>
                  <a:pt x="491328" y="267800"/>
                  <a:pt x="497555" y="267909"/>
                </a:cubicBezTo>
                <a:cubicBezTo>
                  <a:pt x="499813" y="267791"/>
                  <a:pt x="501852" y="266524"/>
                  <a:pt x="502948" y="264555"/>
                </a:cubicBezTo>
                <a:cubicBezTo>
                  <a:pt x="520751" y="238158"/>
                  <a:pt x="525684" y="207463"/>
                  <a:pt x="516804" y="178063"/>
                </a:cubicBezTo>
                <a:close/>
                <a:moveTo>
                  <a:pt x="312226" y="61819"/>
                </a:moveTo>
                <a:cubicBezTo>
                  <a:pt x="311349" y="61534"/>
                  <a:pt x="310275" y="61819"/>
                  <a:pt x="309354" y="61446"/>
                </a:cubicBezTo>
                <a:cubicBezTo>
                  <a:pt x="290017" y="53082"/>
                  <a:pt x="269211" y="48734"/>
                  <a:pt x="248141" y="48664"/>
                </a:cubicBezTo>
                <a:cubicBezTo>
                  <a:pt x="186993" y="47151"/>
                  <a:pt x="132182" y="92096"/>
                  <a:pt x="124311" y="150657"/>
                </a:cubicBezTo>
                <a:cubicBezTo>
                  <a:pt x="120496" y="179159"/>
                  <a:pt x="130713" y="207178"/>
                  <a:pt x="141500" y="233334"/>
                </a:cubicBezTo>
                <a:cubicBezTo>
                  <a:pt x="202560" y="370122"/>
                  <a:pt x="356163" y="325593"/>
                  <a:pt x="387493" y="200667"/>
                </a:cubicBezTo>
                <a:cubicBezTo>
                  <a:pt x="403279" y="142632"/>
                  <a:pt x="373308" y="73636"/>
                  <a:pt x="312226" y="61753"/>
                </a:cubicBezTo>
                <a:close/>
                <a:moveTo>
                  <a:pt x="373352" y="187534"/>
                </a:moveTo>
                <a:cubicBezTo>
                  <a:pt x="350770" y="309698"/>
                  <a:pt x="215495" y="343944"/>
                  <a:pt x="161517" y="236733"/>
                </a:cubicBezTo>
                <a:cubicBezTo>
                  <a:pt x="143144" y="197269"/>
                  <a:pt x="126745" y="146250"/>
                  <a:pt x="163403" y="102050"/>
                </a:cubicBezTo>
                <a:cubicBezTo>
                  <a:pt x="183354" y="77933"/>
                  <a:pt x="213105" y="64778"/>
                  <a:pt x="247154" y="64778"/>
                </a:cubicBezTo>
                <a:cubicBezTo>
                  <a:pt x="267281" y="64873"/>
                  <a:pt x="287145" y="69253"/>
                  <a:pt x="305430" y="77626"/>
                </a:cubicBezTo>
                <a:cubicBezTo>
                  <a:pt x="347810" y="82494"/>
                  <a:pt x="383152" y="128250"/>
                  <a:pt x="373352" y="187468"/>
                </a:cubicBezTo>
                <a:close/>
                <a:moveTo>
                  <a:pt x="451513" y="77955"/>
                </a:moveTo>
                <a:cubicBezTo>
                  <a:pt x="445812" y="78284"/>
                  <a:pt x="439827" y="84664"/>
                  <a:pt x="443007" y="91636"/>
                </a:cubicBezTo>
                <a:cubicBezTo>
                  <a:pt x="477691" y="160808"/>
                  <a:pt x="474446" y="229498"/>
                  <a:pt x="434237" y="275386"/>
                </a:cubicBezTo>
                <a:cubicBezTo>
                  <a:pt x="428909" y="281810"/>
                  <a:pt x="434105" y="288409"/>
                  <a:pt x="440200" y="288716"/>
                </a:cubicBezTo>
                <a:cubicBezTo>
                  <a:pt x="442524" y="288648"/>
                  <a:pt x="444716" y="287558"/>
                  <a:pt x="446164" y="285734"/>
                </a:cubicBezTo>
                <a:cubicBezTo>
                  <a:pt x="491065" y="234409"/>
                  <a:pt x="494946" y="158067"/>
                  <a:pt x="456578" y="81551"/>
                </a:cubicBezTo>
                <a:cubicBezTo>
                  <a:pt x="455766" y="79439"/>
                  <a:pt x="453771" y="78019"/>
                  <a:pt x="451513" y="77955"/>
                </a:cubicBezTo>
                <a:close/>
                <a:moveTo>
                  <a:pt x="341890" y="26630"/>
                </a:moveTo>
                <a:cubicBezTo>
                  <a:pt x="340794" y="26496"/>
                  <a:pt x="339961" y="25553"/>
                  <a:pt x="339961" y="24437"/>
                </a:cubicBezTo>
                <a:cubicBezTo>
                  <a:pt x="339983" y="21456"/>
                  <a:pt x="338273" y="18733"/>
                  <a:pt x="335576" y="17465"/>
                </a:cubicBezTo>
                <a:cubicBezTo>
                  <a:pt x="312665" y="5878"/>
                  <a:pt x="287320" y="-90"/>
                  <a:pt x="261646" y="57"/>
                </a:cubicBezTo>
                <a:cubicBezTo>
                  <a:pt x="174737" y="-2398"/>
                  <a:pt x="88684" y="74601"/>
                  <a:pt x="72108" y="157497"/>
                </a:cubicBezTo>
                <a:cubicBezTo>
                  <a:pt x="59305" y="227853"/>
                  <a:pt x="106662" y="290733"/>
                  <a:pt x="155093" y="328509"/>
                </a:cubicBezTo>
                <a:cubicBezTo>
                  <a:pt x="155948" y="329140"/>
                  <a:pt x="156211" y="330280"/>
                  <a:pt x="155751" y="331228"/>
                </a:cubicBezTo>
                <a:lnTo>
                  <a:pt x="137334" y="368806"/>
                </a:lnTo>
                <a:cubicBezTo>
                  <a:pt x="136063" y="371240"/>
                  <a:pt x="133453" y="369289"/>
                  <a:pt x="131678" y="368587"/>
                </a:cubicBezTo>
                <a:cubicBezTo>
                  <a:pt x="128279" y="366965"/>
                  <a:pt x="124969" y="365101"/>
                  <a:pt x="121220" y="366614"/>
                </a:cubicBezTo>
                <a:cubicBezTo>
                  <a:pt x="117295" y="366044"/>
                  <a:pt x="113327" y="365474"/>
                  <a:pt x="109753" y="370999"/>
                </a:cubicBezTo>
                <a:cubicBezTo>
                  <a:pt x="72744" y="437562"/>
                  <a:pt x="31504" y="513508"/>
                  <a:pt x="2323" y="592437"/>
                </a:cubicBezTo>
                <a:cubicBezTo>
                  <a:pt x="87" y="594542"/>
                  <a:pt x="-615" y="597821"/>
                  <a:pt x="569" y="600658"/>
                </a:cubicBezTo>
                <a:cubicBezTo>
                  <a:pt x="13219" y="632723"/>
                  <a:pt x="42664" y="655071"/>
                  <a:pt x="76954" y="658605"/>
                </a:cubicBezTo>
                <a:cubicBezTo>
                  <a:pt x="79059" y="658877"/>
                  <a:pt x="81207" y="658309"/>
                  <a:pt x="82896" y="657026"/>
                </a:cubicBezTo>
                <a:cubicBezTo>
                  <a:pt x="83356" y="656665"/>
                  <a:pt x="83948" y="656507"/>
                  <a:pt x="84540" y="656588"/>
                </a:cubicBezTo>
                <a:cubicBezTo>
                  <a:pt x="85132" y="656669"/>
                  <a:pt x="85658" y="656985"/>
                  <a:pt x="86009" y="657465"/>
                </a:cubicBezTo>
                <a:cubicBezTo>
                  <a:pt x="87807" y="659666"/>
                  <a:pt x="90525" y="660918"/>
                  <a:pt x="93375" y="660863"/>
                </a:cubicBezTo>
                <a:cubicBezTo>
                  <a:pt x="96708" y="660947"/>
                  <a:pt x="99778" y="659022"/>
                  <a:pt x="101159" y="655974"/>
                </a:cubicBezTo>
                <a:lnTo>
                  <a:pt x="212535" y="414322"/>
                </a:lnTo>
                <a:cubicBezTo>
                  <a:pt x="214026" y="411362"/>
                  <a:pt x="213018" y="409937"/>
                  <a:pt x="212755" y="407393"/>
                </a:cubicBezTo>
                <a:cubicBezTo>
                  <a:pt x="213456" y="404068"/>
                  <a:pt x="211439" y="400777"/>
                  <a:pt x="208150" y="399895"/>
                </a:cubicBezTo>
                <a:cubicBezTo>
                  <a:pt x="206331" y="399259"/>
                  <a:pt x="204511" y="398580"/>
                  <a:pt x="202691" y="397900"/>
                </a:cubicBezTo>
                <a:cubicBezTo>
                  <a:pt x="200871" y="397221"/>
                  <a:pt x="196881" y="396563"/>
                  <a:pt x="198306" y="393515"/>
                </a:cubicBezTo>
                <a:lnTo>
                  <a:pt x="215539" y="361527"/>
                </a:lnTo>
                <a:cubicBezTo>
                  <a:pt x="216022" y="360624"/>
                  <a:pt x="217074" y="360177"/>
                  <a:pt x="218060" y="360453"/>
                </a:cubicBezTo>
                <a:cubicBezTo>
                  <a:pt x="232114" y="364522"/>
                  <a:pt x="246672" y="366612"/>
                  <a:pt x="261296" y="366658"/>
                </a:cubicBezTo>
                <a:cubicBezTo>
                  <a:pt x="437657" y="364575"/>
                  <a:pt x="512244" y="101392"/>
                  <a:pt x="341890" y="26630"/>
                </a:cubicBezTo>
                <a:close/>
                <a:moveTo>
                  <a:pt x="194382" y="414694"/>
                </a:moveTo>
                <a:lnTo>
                  <a:pt x="88420" y="644486"/>
                </a:lnTo>
                <a:cubicBezTo>
                  <a:pt x="87916" y="645586"/>
                  <a:pt x="86623" y="646066"/>
                  <a:pt x="85505" y="645560"/>
                </a:cubicBezTo>
                <a:cubicBezTo>
                  <a:pt x="85219" y="645428"/>
                  <a:pt x="84957" y="645233"/>
                  <a:pt x="84759" y="644990"/>
                </a:cubicBezTo>
                <a:cubicBezTo>
                  <a:pt x="83465" y="643543"/>
                  <a:pt x="81646" y="642668"/>
                  <a:pt x="79694" y="642556"/>
                </a:cubicBezTo>
                <a:cubicBezTo>
                  <a:pt x="53144" y="639574"/>
                  <a:pt x="27536" y="622671"/>
                  <a:pt x="18306" y="597150"/>
                </a:cubicBezTo>
                <a:cubicBezTo>
                  <a:pt x="46523" y="522677"/>
                  <a:pt x="81558" y="450964"/>
                  <a:pt x="122951" y="382926"/>
                </a:cubicBezTo>
                <a:cubicBezTo>
                  <a:pt x="145731" y="392836"/>
                  <a:pt x="169125" y="403118"/>
                  <a:pt x="193110" y="411713"/>
                </a:cubicBezTo>
                <a:cubicBezTo>
                  <a:pt x="194250" y="412123"/>
                  <a:pt x="194842" y="413379"/>
                  <a:pt x="194426" y="414517"/>
                </a:cubicBezTo>
                <a:cubicBezTo>
                  <a:pt x="194404" y="414593"/>
                  <a:pt x="194382" y="414666"/>
                  <a:pt x="194338" y="414738"/>
                </a:cubicBezTo>
                <a:close/>
                <a:moveTo>
                  <a:pt x="199600" y="356638"/>
                </a:moveTo>
                <a:lnTo>
                  <a:pt x="182609" y="388144"/>
                </a:lnTo>
                <a:cubicBezTo>
                  <a:pt x="182082" y="389117"/>
                  <a:pt x="180920" y="389549"/>
                  <a:pt x="179890" y="389152"/>
                </a:cubicBezTo>
                <a:cubicBezTo>
                  <a:pt x="170923" y="385622"/>
                  <a:pt x="162043" y="381983"/>
                  <a:pt x="153471" y="378190"/>
                </a:cubicBezTo>
                <a:cubicBezTo>
                  <a:pt x="152353" y="377710"/>
                  <a:pt x="151848" y="376418"/>
                  <a:pt x="152331" y="375307"/>
                </a:cubicBezTo>
                <a:cubicBezTo>
                  <a:pt x="152353" y="375274"/>
                  <a:pt x="152353" y="375241"/>
                  <a:pt x="152375" y="375208"/>
                </a:cubicBezTo>
                <a:lnTo>
                  <a:pt x="169147" y="340984"/>
                </a:lnTo>
                <a:cubicBezTo>
                  <a:pt x="169673" y="339894"/>
                  <a:pt x="170988" y="339436"/>
                  <a:pt x="172085" y="339962"/>
                </a:cubicBezTo>
                <a:cubicBezTo>
                  <a:pt x="172129" y="339993"/>
                  <a:pt x="172194" y="340026"/>
                  <a:pt x="172260" y="340063"/>
                </a:cubicBezTo>
                <a:cubicBezTo>
                  <a:pt x="180679" y="345183"/>
                  <a:pt x="189471" y="349662"/>
                  <a:pt x="198569" y="353459"/>
                </a:cubicBezTo>
                <a:cubicBezTo>
                  <a:pt x="199687" y="353928"/>
                  <a:pt x="200213" y="355213"/>
                  <a:pt x="199753" y="356329"/>
                </a:cubicBezTo>
                <a:cubicBezTo>
                  <a:pt x="199687" y="356452"/>
                  <a:pt x="199622" y="356570"/>
                  <a:pt x="199556" y="356682"/>
                </a:cubicBezTo>
                <a:close/>
                <a:moveTo>
                  <a:pt x="420227" y="199439"/>
                </a:moveTo>
                <a:cubicBezTo>
                  <a:pt x="409550" y="280560"/>
                  <a:pt x="343206" y="348416"/>
                  <a:pt x="264036" y="348526"/>
                </a:cubicBezTo>
                <a:cubicBezTo>
                  <a:pt x="189712" y="352472"/>
                  <a:pt x="91731" y="264730"/>
                  <a:pt x="87193" y="184640"/>
                </a:cubicBezTo>
                <a:cubicBezTo>
                  <a:pt x="84189" y="141580"/>
                  <a:pt x="113129" y="100318"/>
                  <a:pt x="125714" y="84576"/>
                </a:cubicBezTo>
                <a:cubicBezTo>
                  <a:pt x="174211" y="22793"/>
                  <a:pt x="259169" y="-644"/>
                  <a:pt x="328012" y="34523"/>
                </a:cubicBezTo>
                <a:cubicBezTo>
                  <a:pt x="329020" y="34770"/>
                  <a:pt x="329700" y="35682"/>
                  <a:pt x="329678" y="36715"/>
                </a:cubicBezTo>
                <a:cubicBezTo>
                  <a:pt x="329459" y="39756"/>
                  <a:pt x="331300" y="42567"/>
                  <a:pt x="334173" y="43599"/>
                </a:cubicBezTo>
                <a:cubicBezTo>
                  <a:pt x="393501" y="67914"/>
                  <a:pt x="428887" y="131999"/>
                  <a:pt x="420183" y="199483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688" name="CustomShape 7"/>
          <p:cNvSpPr/>
          <p:nvPr/>
        </p:nvSpPr>
        <p:spPr>
          <a:xfrm>
            <a:off x="5211360" y="1791000"/>
            <a:ext cx="1233000" cy="1388520"/>
          </a:xfrm>
          <a:custGeom>
            <a:avLst/>
            <a:gdLst/>
            <a:ahLst/>
            <a:cxnLst/>
            <a:rect l="l" t="t" r="r" b="b"/>
            <a:pathLst>
              <a:path w="584559" h="658270">
                <a:moveTo>
                  <a:pt x="400656" y="592594"/>
                </a:moveTo>
                <a:cubicBezTo>
                  <a:pt x="398705" y="592697"/>
                  <a:pt x="396842" y="593473"/>
                  <a:pt x="395395" y="594786"/>
                </a:cubicBezTo>
                <a:cubicBezTo>
                  <a:pt x="372790" y="614869"/>
                  <a:pt x="326968" y="608292"/>
                  <a:pt x="296493" y="605310"/>
                </a:cubicBezTo>
                <a:cubicBezTo>
                  <a:pt x="253302" y="602043"/>
                  <a:pt x="220963" y="596014"/>
                  <a:pt x="191671" y="585731"/>
                </a:cubicBezTo>
                <a:cubicBezTo>
                  <a:pt x="185292" y="583232"/>
                  <a:pt x="178517" y="589173"/>
                  <a:pt x="177552" y="595027"/>
                </a:cubicBezTo>
                <a:cubicBezTo>
                  <a:pt x="176719" y="598472"/>
                  <a:pt x="178846" y="601934"/>
                  <a:pt x="182288" y="602767"/>
                </a:cubicBezTo>
                <a:cubicBezTo>
                  <a:pt x="218069" y="615921"/>
                  <a:pt x="265294" y="622893"/>
                  <a:pt x="316028" y="625524"/>
                </a:cubicBezTo>
                <a:cubicBezTo>
                  <a:pt x="346152" y="628462"/>
                  <a:pt x="384498" y="628528"/>
                  <a:pt x="404515" y="610440"/>
                </a:cubicBezTo>
                <a:cubicBezTo>
                  <a:pt x="412320" y="604038"/>
                  <a:pt x="407585" y="592901"/>
                  <a:pt x="400656" y="592594"/>
                </a:cubicBezTo>
                <a:close/>
                <a:moveTo>
                  <a:pt x="310547" y="639710"/>
                </a:moveTo>
                <a:lnTo>
                  <a:pt x="268429" y="637692"/>
                </a:lnTo>
                <a:cubicBezTo>
                  <a:pt x="263694" y="637495"/>
                  <a:pt x="258191" y="639490"/>
                  <a:pt x="256788" y="645673"/>
                </a:cubicBezTo>
                <a:cubicBezTo>
                  <a:pt x="256042" y="649839"/>
                  <a:pt x="258191" y="655671"/>
                  <a:pt x="263365" y="656241"/>
                </a:cubicBezTo>
                <a:lnTo>
                  <a:pt x="305460" y="658258"/>
                </a:lnTo>
                <a:cubicBezTo>
                  <a:pt x="310218" y="658455"/>
                  <a:pt x="315699" y="656460"/>
                  <a:pt x="317124" y="650277"/>
                </a:cubicBezTo>
                <a:cubicBezTo>
                  <a:pt x="317847" y="646111"/>
                  <a:pt x="315699" y="640258"/>
                  <a:pt x="310547" y="639710"/>
                </a:cubicBezTo>
                <a:close/>
                <a:moveTo>
                  <a:pt x="85075" y="404459"/>
                </a:moveTo>
                <a:cubicBezTo>
                  <a:pt x="50631" y="383609"/>
                  <a:pt x="26799" y="349648"/>
                  <a:pt x="17985" y="308824"/>
                </a:cubicBezTo>
                <a:cubicBezTo>
                  <a:pt x="14894" y="296437"/>
                  <a:pt x="-2448" y="306303"/>
                  <a:pt x="292" y="316257"/>
                </a:cubicBezTo>
                <a:cubicBezTo>
                  <a:pt x="9829" y="360347"/>
                  <a:pt x="37038" y="397925"/>
                  <a:pt x="77028" y="422064"/>
                </a:cubicBezTo>
                <a:cubicBezTo>
                  <a:pt x="82224" y="425572"/>
                  <a:pt x="87991" y="421034"/>
                  <a:pt x="89262" y="415641"/>
                </a:cubicBezTo>
                <a:cubicBezTo>
                  <a:pt x="90643" y="411394"/>
                  <a:pt x="88911" y="406755"/>
                  <a:pt x="85075" y="404459"/>
                </a:cubicBezTo>
                <a:close/>
                <a:moveTo>
                  <a:pt x="329906" y="581522"/>
                </a:moveTo>
                <a:cubicBezTo>
                  <a:pt x="357816" y="581522"/>
                  <a:pt x="380332" y="577751"/>
                  <a:pt x="400656" y="569661"/>
                </a:cubicBezTo>
                <a:cubicBezTo>
                  <a:pt x="405261" y="567896"/>
                  <a:pt x="407870" y="563002"/>
                  <a:pt x="406752" y="558194"/>
                </a:cubicBezTo>
                <a:cubicBezTo>
                  <a:pt x="406357" y="554364"/>
                  <a:pt x="403243" y="551382"/>
                  <a:pt x="399407" y="551134"/>
                </a:cubicBezTo>
                <a:cubicBezTo>
                  <a:pt x="398135" y="551161"/>
                  <a:pt x="396885" y="551428"/>
                  <a:pt x="395701" y="551924"/>
                </a:cubicBezTo>
                <a:cubicBezTo>
                  <a:pt x="365511" y="565078"/>
                  <a:pt x="319887" y="564201"/>
                  <a:pt x="285399" y="560123"/>
                </a:cubicBezTo>
                <a:cubicBezTo>
                  <a:pt x="250079" y="556857"/>
                  <a:pt x="213553" y="549337"/>
                  <a:pt x="177004" y="540545"/>
                </a:cubicBezTo>
                <a:cubicBezTo>
                  <a:pt x="172137" y="540545"/>
                  <a:pt x="169352" y="544930"/>
                  <a:pt x="168826" y="549095"/>
                </a:cubicBezTo>
                <a:cubicBezTo>
                  <a:pt x="167884" y="553862"/>
                  <a:pt x="170887" y="558516"/>
                  <a:pt x="175623" y="559619"/>
                </a:cubicBezTo>
                <a:cubicBezTo>
                  <a:pt x="226663" y="572796"/>
                  <a:pt x="279633" y="581061"/>
                  <a:pt x="329906" y="581522"/>
                </a:cubicBezTo>
                <a:close/>
                <a:moveTo>
                  <a:pt x="216951" y="106307"/>
                </a:moveTo>
                <a:cubicBezTo>
                  <a:pt x="171238" y="119725"/>
                  <a:pt x="136444" y="158926"/>
                  <a:pt x="123991" y="204968"/>
                </a:cubicBezTo>
                <a:cubicBezTo>
                  <a:pt x="122237" y="210887"/>
                  <a:pt x="126183" y="214877"/>
                  <a:pt x="132081" y="214899"/>
                </a:cubicBezTo>
                <a:cubicBezTo>
                  <a:pt x="136860" y="215086"/>
                  <a:pt x="141114" y="211902"/>
                  <a:pt x="142276" y="207270"/>
                </a:cubicBezTo>
                <a:cubicBezTo>
                  <a:pt x="152602" y="168886"/>
                  <a:pt x="181104" y="138014"/>
                  <a:pt x="218551" y="124658"/>
                </a:cubicBezTo>
                <a:cubicBezTo>
                  <a:pt x="228198" y="121216"/>
                  <a:pt x="226334" y="106811"/>
                  <a:pt x="216951" y="106307"/>
                </a:cubicBezTo>
                <a:close/>
                <a:moveTo>
                  <a:pt x="259660" y="91574"/>
                </a:moveTo>
                <a:cubicBezTo>
                  <a:pt x="248325" y="91574"/>
                  <a:pt x="248127" y="110232"/>
                  <a:pt x="260690" y="110297"/>
                </a:cubicBezTo>
                <a:cubicBezTo>
                  <a:pt x="272025" y="110407"/>
                  <a:pt x="272201" y="91640"/>
                  <a:pt x="259660" y="91574"/>
                </a:cubicBezTo>
                <a:close/>
                <a:moveTo>
                  <a:pt x="557483" y="48689"/>
                </a:moveTo>
                <a:cubicBezTo>
                  <a:pt x="551256" y="39700"/>
                  <a:pt x="533760" y="49939"/>
                  <a:pt x="541193" y="59235"/>
                </a:cubicBezTo>
                <a:cubicBezTo>
                  <a:pt x="556321" y="77557"/>
                  <a:pt x="565003" y="100330"/>
                  <a:pt x="565946" y="124066"/>
                </a:cubicBezTo>
                <a:cubicBezTo>
                  <a:pt x="565770" y="128275"/>
                  <a:pt x="569059" y="131825"/>
                  <a:pt x="573268" y="131992"/>
                </a:cubicBezTo>
                <a:cubicBezTo>
                  <a:pt x="573532" y="132003"/>
                  <a:pt x="573817" y="131998"/>
                  <a:pt x="574080" y="131981"/>
                </a:cubicBezTo>
                <a:cubicBezTo>
                  <a:pt x="579561" y="132272"/>
                  <a:pt x="584253" y="128058"/>
                  <a:pt x="584538" y="122569"/>
                </a:cubicBezTo>
                <a:cubicBezTo>
                  <a:pt x="584560" y="122323"/>
                  <a:pt x="584560" y="122075"/>
                  <a:pt x="584560" y="121830"/>
                </a:cubicBezTo>
                <a:cubicBezTo>
                  <a:pt x="583639" y="95169"/>
                  <a:pt x="574146" y="69515"/>
                  <a:pt x="557483" y="48689"/>
                </a:cubicBezTo>
                <a:close/>
                <a:moveTo>
                  <a:pt x="403682" y="258"/>
                </a:moveTo>
                <a:cubicBezTo>
                  <a:pt x="392720" y="-2395"/>
                  <a:pt x="387765" y="16219"/>
                  <a:pt x="399780" y="18960"/>
                </a:cubicBezTo>
                <a:cubicBezTo>
                  <a:pt x="493595" y="37946"/>
                  <a:pt x="532160" y="149148"/>
                  <a:pt x="535120" y="227659"/>
                </a:cubicBezTo>
                <a:cubicBezTo>
                  <a:pt x="535076" y="232018"/>
                  <a:pt x="538562" y="235590"/>
                  <a:pt x="542925" y="235633"/>
                </a:cubicBezTo>
                <a:cubicBezTo>
                  <a:pt x="543122" y="235636"/>
                  <a:pt x="543320" y="235631"/>
                  <a:pt x="543517" y="235618"/>
                </a:cubicBezTo>
                <a:cubicBezTo>
                  <a:pt x="546499" y="235695"/>
                  <a:pt x="549371" y="234555"/>
                  <a:pt x="551497" y="232461"/>
                </a:cubicBezTo>
                <a:cubicBezTo>
                  <a:pt x="553208" y="230630"/>
                  <a:pt x="554062" y="228157"/>
                  <a:pt x="553822" y="225664"/>
                </a:cubicBezTo>
                <a:cubicBezTo>
                  <a:pt x="551629" y="188393"/>
                  <a:pt x="542859" y="133800"/>
                  <a:pt x="514993" y="85610"/>
                </a:cubicBezTo>
                <a:cubicBezTo>
                  <a:pt x="488442" y="39898"/>
                  <a:pt x="451017" y="11220"/>
                  <a:pt x="403682" y="258"/>
                </a:cubicBezTo>
                <a:close/>
                <a:moveTo>
                  <a:pt x="431548" y="75240"/>
                </a:moveTo>
                <a:cubicBezTo>
                  <a:pt x="312936" y="-26709"/>
                  <a:pt x="83934" y="43559"/>
                  <a:pt x="55323" y="204968"/>
                </a:cubicBezTo>
                <a:cubicBezTo>
                  <a:pt x="46553" y="255569"/>
                  <a:pt x="59708" y="304373"/>
                  <a:pt x="92134" y="342369"/>
                </a:cubicBezTo>
                <a:cubicBezTo>
                  <a:pt x="111406" y="364995"/>
                  <a:pt x="133352" y="384398"/>
                  <a:pt x="147757" y="411431"/>
                </a:cubicBezTo>
                <a:cubicBezTo>
                  <a:pt x="162161" y="438464"/>
                  <a:pt x="168498" y="469312"/>
                  <a:pt x="166524" y="502681"/>
                </a:cubicBezTo>
                <a:cubicBezTo>
                  <a:pt x="166480" y="503654"/>
                  <a:pt x="165998" y="504556"/>
                  <a:pt x="165209" y="505137"/>
                </a:cubicBezTo>
                <a:cubicBezTo>
                  <a:pt x="161986" y="507785"/>
                  <a:pt x="160495" y="512012"/>
                  <a:pt x="161350" y="516099"/>
                </a:cubicBezTo>
                <a:cubicBezTo>
                  <a:pt x="161964" y="519442"/>
                  <a:pt x="164573" y="522060"/>
                  <a:pt x="167928" y="522676"/>
                </a:cubicBezTo>
                <a:cubicBezTo>
                  <a:pt x="215043" y="533845"/>
                  <a:pt x="263124" y="540387"/>
                  <a:pt x="311511" y="542211"/>
                </a:cubicBezTo>
                <a:cubicBezTo>
                  <a:pt x="350011" y="543022"/>
                  <a:pt x="388510" y="548218"/>
                  <a:pt x="425651" y="525855"/>
                </a:cubicBezTo>
                <a:cubicBezTo>
                  <a:pt x="429180" y="523911"/>
                  <a:pt x="430847" y="519741"/>
                  <a:pt x="429619" y="515902"/>
                </a:cubicBezTo>
                <a:cubicBezTo>
                  <a:pt x="428610" y="511990"/>
                  <a:pt x="425190" y="509184"/>
                  <a:pt x="421156" y="508973"/>
                </a:cubicBezTo>
                <a:cubicBezTo>
                  <a:pt x="418656" y="508601"/>
                  <a:pt x="416004" y="511626"/>
                  <a:pt x="413526" y="510048"/>
                </a:cubicBezTo>
                <a:cubicBezTo>
                  <a:pt x="412518" y="509440"/>
                  <a:pt x="411926" y="508346"/>
                  <a:pt x="411948" y="507176"/>
                </a:cubicBezTo>
                <a:cubicBezTo>
                  <a:pt x="412452" y="477012"/>
                  <a:pt x="419906" y="447368"/>
                  <a:pt x="433719" y="420552"/>
                </a:cubicBezTo>
                <a:cubicBezTo>
                  <a:pt x="441458" y="405731"/>
                  <a:pt x="451697" y="392642"/>
                  <a:pt x="461607" y="379969"/>
                </a:cubicBezTo>
                <a:cubicBezTo>
                  <a:pt x="467856" y="371989"/>
                  <a:pt x="474323" y="363723"/>
                  <a:pt x="480045" y="355151"/>
                </a:cubicBezTo>
                <a:cubicBezTo>
                  <a:pt x="530231" y="279708"/>
                  <a:pt x="512033" y="136629"/>
                  <a:pt x="431548" y="75240"/>
                </a:cubicBezTo>
                <a:close/>
                <a:moveTo>
                  <a:pt x="334116" y="324171"/>
                </a:moveTo>
                <a:cubicBezTo>
                  <a:pt x="324644" y="390296"/>
                  <a:pt x="323548" y="458108"/>
                  <a:pt x="320961" y="523312"/>
                </a:cubicBezTo>
                <a:cubicBezTo>
                  <a:pt x="320303" y="523941"/>
                  <a:pt x="319404" y="524268"/>
                  <a:pt x="318483" y="524211"/>
                </a:cubicBezTo>
                <a:cubicBezTo>
                  <a:pt x="310788" y="523685"/>
                  <a:pt x="302873" y="523027"/>
                  <a:pt x="295419" y="522567"/>
                </a:cubicBezTo>
                <a:cubicBezTo>
                  <a:pt x="285224" y="521909"/>
                  <a:pt x="274832" y="520988"/>
                  <a:pt x="263694" y="519760"/>
                </a:cubicBezTo>
                <a:cubicBezTo>
                  <a:pt x="262006" y="519589"/>
                  <a:pt x="260734" y="518149"/>
                  <a:pt x="260756" y="516450"/>
                </a:cubicBezTo>
                <a:cubicBezTo>
                  <a:pt x="256108" y="449957"/>
                  <a:pt x="246001" y="383960"/>
                  <a:pt x="230522" y="319129"/>
                </a:cubicBezTo>
                <a:cubicBezTo>
                  <a:pt x="230127" y="317344"/>
                  <a:pt x="231245" y="315575"/>
                  <a:pt x="233021" y="315174"/>
                </a:cubicBezTo>
                <a:cubicBezTo>
                  <a:pt x="233263" y="315123"/>
                  <a:pt x="233482" y="315097"/>
                  <a:pt x="233723" y="315095"/>
                </a:cubicBezTo>
                <a:cubicBezTo>
                  <a:pt x="235170" y="315095"/>
                  <a:pt x="236639" y="315270"/>
                  <a:pt x="238108" y="315270"/>
                </a:cubicBezTo>
                <a:cubicBezTo>
                  <a:pt x="248654" y="315443"/>
                  <a:pt x="258914" y="311896"/>
                  <a:pt x="267114" y="305250"/>
                </a:cubicBezTo>
                <a:cubicBezTo>
                  <a:pt x="268342" y="304255"/>
                  <a:pt x="270074" y="304255"/>
                  <a:pt x="271302" y="305250"/>
                </a:cubicBezTo>
                <a:cubicBezTo>
                  <a:pt x="284128" y="315555"/>
                  <a:pt x="301338" y="320773"/>
                  <a:pt x="322452" y="320773"/>
                </a:cubicBezTo>
                <a:cubicBezTo>
                  <a:pt x="326003" y="321321"/>
                  <a:pt x="334291" y="318164"/>
                  <a:pt x="334116" y="324171"/>
                </a:cubicBezTo>
                <a:close/>
                <a:moveTo>
                  <a:pt x="269811" y="253245"/>
                </a:moveTo>
                <a:cubicBezTo>
                  <a:pt x="271214" y="252283"/>
                  <a:pt x="273100" y="252539"/>
                  <a:pt x="274196" y="253837"/>
                </a:cubicBezTo>
                <a:cubicBezTo>
                  <a:pt x="276783" y="256863"/>
                  <a:pt x="276892" y="261292"/>
                  <a:pt x="274481" y="266992"/>
                </a:cubicBezTo>
                <a:cubicBezTo>
                  <a:pt x="273779" y="268665"/>
                  <a:pt x="271850" y="269452"/>
                  <a:pt x="270183" y="268746"/>
                </a:cubicBezTo>
                <a:cubicBezTo>
                  <a:pt x="269504" y="268468"/>
                  <a:pt x="268956" y="267983"/>
                  <a:pt x="268605" y="267365"/>
                </a:cubicBezTo>
                <a:cubicBezTo>
                  <a:pt x="263694" y="259033"/>
                  <a:pt x="267268" y="254934"/>
                  <a:pt x="269811" y="253245"/>
                </a:cubicBezTo>
                <a:close/>
                <a:moveTo>
                  <a:pt x="478971" y="317945"/>
                </a:moveTo>
                <a:cubicBezTo>
                  <a:pt x="470201" y="344035"/>
                  <a:pt x="451127" y="362759"/>
                  <a:pt x="435539" y="384157"/>
                </a:cubicBezTo>
                <a:cubicBezTo>
                  <a:pt x="407300" y="422707"/>
                  <a:pt x="392523" y="469481"/>
                  <a:pt x="393487" y="517261"/>
                </a:cubicBezTo>
                <a:cubicBezTo>
                  <a:pt x="393750" y="518936"/>
                  <a:pt x="392698" y="520536"/>
                  <a:pt x="391054" y="520966"/>
                </a:cubicBezTo>
                <a:cubicBezTo>
                  <a:pt x="377241" y="524161"/>
                  <a:pt x="363100" y="525634"/>
                  <a:pt x="348937" y="525351"/>
                </a:cubicBezTo>
                <a:cubicBezTo>
                  <a:pt x="345473" y="525351"/>
                  <a:pt x="339641" y="526338"/>
                  <a:pt x="340561" y="520966"/>
                </a:cubicBezTo>
                <a:cubicBezTo>
                  <a:pt x="340145" y="453831"/>
                  <a:pt x="344332" y="386744"/>
                  <a:pt x="353102" y="320181"/>
                </a:cubicBezTo>
                <a:cubicBezTo>
                  <a:pt x="353431" y="315796"/>
                  <a:pt x="359942" y="316695"/>
                  <a:pt x="363056" y="315423"/>
                </a:cubicBezTo>
                <a:cubicBezTo>
                  <a:pt x="374566" y="312310"/>
                  <a:pt x="368669" y="297182"/>
                  <a:pt x="359855" y="297643"/>
                </a:cubicBezTo>
                <a:cubicBezTo>
                  <a:pt x="341175" y="301567"/>
                  <a:pt x="314603" y="306675"/>
                  <a:pt x="295068" y="297029"/>
                </a:cubicBezTo>
                <a:cubicBezTo>
                  <a:pt x="291100" y="295229"/>
                  <a:pt x="287372" y="292953"/>
                  <a:pt x="283952" y="290254"/>
                </a:cubicBezTo>
                <a:cubicBezTo>
                  <a:pt x="282593" y="289206"/>
                  <a:pt x="282286" y="287294"/>
                  <a:pt x="283228" y="285869"/>
                </a:cubicBezTo>
                <a:cubicBezTo>
                  <a:pt x="293402" y="269864"/>
                  <a:pt x="297633" y="254144"/>
                  <a:pt x="294586" y="243818"/>
                </a:cubicBezTo>
                <a:cubicBezTo>
                  <a:pt x="292393" y="235662"/>
                  <a:pt x="283623" y="229698"/>
                  <a:pt x="275029" y="229720"/>
                </a:cubicBezTo>
                <a:cubicBezTo>
                  <a:pt x="265733" y="229720"/>
                  <a:pt x="256590" y="235991"/>
                  <a:pt x="252249" y="245331"/>
                </a:cubicBezTo>
                <a:cubicBezTo>
                  <a:pt x="245672" y="259560"/>
                  <a:pt x="249859" y="276288"/>
                  <a:pt x="256020" y="287206"/>
                </a:cubicBezTo>
                <a:cubicBezTo>
                  <a:pt x="256810" y="288616"/>
                  <a:pt x="256459" y="290392"/>
                  <a:pt x="255187" y="291394"/>
                </a:cubicBezTo>
                <a:cubicBezTo>
                  <a:pt x="250539" y="294950"/>
                  <a:pt x="244817" y="296785"/>
                  <a:pt x="238963" y="296590"/>
                </a:cubicBezTo>
                <a:cubicBezTo>
                  <a:pt x="226707" y="296912"/>
                  <a:pt x="215723" y="289024"/>
                  <a:pt x="212127" y="277297"/>
                </a:cubicBezTo>
                <a:cubicBezTo>
                  <a:pt x="211491" y="273854"/>
                  <a:pt x="208444" y="271397"/>
                  <a:pt x="204936" y="271509"/>
                </a:cubicBezTo>
                <a:cubicBezTo>
                  <a:pt x="201341" y="271592"/>
                  <a:pt x="197986" y="273302"/>
                  <a:pt x="195815" y="276157"/>
                </a:cubicBezTo>
                <a:cubicBezTo>
                  <a:pt x="189764" y="284093"/>
                  <a:pt x="200858" y="298914"/>
                  <a:pt x="207458" y="304351"/>
                </a:cubicBezTo>
                <a:cubicBezTo>
                  <a:pt x="209277" y="305689"/>
                  <a:pt x="208268" y="308364"/>
                  <a:pt x="208860" y="310096"/>
                </a:cubicBezTo>
                <a:cubicBezTo>
                  <a:pt x="224471" y="376768"/>
                  <a:pt x="239270" y="447015"/>
                  <a:pt x="240717" y="515573"/>
                </a:cubicBezTo>
                <a:cubicBezTo>
                  <a:pt x="239993" y="516254"/>
                  <a:pt x="238985" y="516561"/>
                  <a:pt x="237998" y="516406"/>
                </a:cubicBezTo>
                <a:cubicBezTo>
                  <a:pt x="221051" y="513950"/>
                  <a:pt x="203971" y="510881"/>
                  <a:pt x="187243" y="507263"/>
                </a:cubicBezTo>
                <a:cubicBezTo>
                  <a:pt x="185445" y="506853"/>
                  <a:pt x="184327" y="505064"/>
                  <a:pt x="184743" y="503271"/>
                </a:cubicBezTo>
                <a:cubicBezTo>
                  <a:pt x="184743" y="503264"/>
                  <a:pt x="184743" y="503258"/>
                  <a:pt x="184743" y="503251"/>
                </a:cubicBezTo>
                <a:cubicBezTo>
                  <a:pt x="189128" y="453088"/>
                  <a:pt x="172027" y="403538"/>
                  <a:pt x="138351" y="364491"/>
                </a:cubicBezTo>
                <a:cubicBezTo>
                  <a:pt x="121272" y="344758"/>
                  <a:pt x="101847" y="327526"/>
                  <a:pt x="88583" y="304373"/>
                </a:cubicBezTo>
                <a:cubicBezTo>
                  <a:pt x="76480" y="282423"/>
                  <a:pt x="70473" y="257630"/>
                  <a:pt x="71174" y="232571"/>
                </a:cubicBezTo>
                <a:cubicBezTo>
                  <a:pt x="72928" y="120448"/>
                  <a:pt x="178451" y="56078"/>
                  <a:pt x="275073" y="47045"/>
                </a:cubicBezTo>
                <a:cubicBezTo>
                  <a:pt x="428588" y="33145"/>
                  <a:pt x="520649" y="175808"/>
                  <a:pt x="478971" y="317967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689" name="CustomShape 8"/>
          <p:cNvSpPr/>
          <p:nvPr/>
        </p:nvSpPr>
        <p:spPr>
          <a:xfrm>
            <a:off x="6588000" y="2956680"/>
            <a:ext cx="1099080" cy="1009080"/>
          </a:xfrm>
          <a:custGeom>
            <a:avLst/>
            <a:gdLst/>
            <a:ahLst/>
            <a:cxnLst/>
            <a:rect l="l" t="t" r="r" b="b"/>
            <a:pathLst>
              <a:path w="434408" h="384058">
                <a:moveTo>
                  <a:pt x="13054" y="208885"/>
                </a:moveTo>
                <a:cubicBezTo>
                  <a:pt x="44581" y="177358"/>
                  <a:pt x="76043" y="145699"/>
                  <a:pt x="104084" y="110970"/>
                </a:cubicBezTo>
                <a:cubicBezTo>
                  <a:pt x="110179" y="103428"/>
                  <a:pt x="99370" y="93957"/>
                  <a:pt x="93122" y="101543"/>
                </a:cubicBezTo>
                <a:cubicBezTo>
                  <a:pt x="65081" y="136271"/>
                  <a:pt x="33641" y="167930"/>
                  <a:pt x="2113" y="199458"/>
                </a:cubicBezTo>
                <a:cubicBezTo>
                  <a:pt x="-4596" y="206342"/>
                  <a:pt x="6213" y="215726"/>
                  <a:pt x="13054" y="208885"/>
                </a:cubicBezTo>
                <a:close/>
                <a:moveTo>
                  <a:pt x="133639" y="85691"/>
                </a:moveTo>
                <a:lnTo>
                  <a:pt x="151967" y="68744"/>
                </a:lnTo>
                <a:cubicBezTo>
                  <a:pt x="154730" y="65720"/>
                  <a:pt x="154533" y="61046"/>
                  <a:pt x="151529" y="58264"/>
                </a:cubicBezTo>
                <a:cubicBezTo>
                  <a:pt x="148218" y="55370"/>
                  <a:pt x="144009" y="56619"/>
                  <a:pt x="141115" y="59316"/>
                </a:cubicBezTo>
                <a:lnTo>
                  <a:pt x="122808" y="76264"/>
                </a:lnTo>
                <a:cubicBezTo>
                  <a:pt x="120067" y="79278"/>
                  <a:pt x="120243" y="83935"/>
                  <a:pt x="123224" y="86722"/>
                </a:cubicBezTo>
                <a:cubicBezTo>
                  <a:pt x="126667" y="89682"/>
                  <a:pt x="130854" y="88366"/>
                  <a:pt x="133748" y="85691"/>
                </a:cubicBezTo>
                <a:close/>
                <a:moveTo>
                  <a:pt x="428173" y="39409"/>
                </a:moveTo>
                <a:cubicBezTo>
                  <a:pt x="425345" y="30178"/>
                  <a:pt x="411379" y="35769"/>
                  <a:pt x="414075" y="44561"/>
                </a:cubicBezTo>
                <a:cubicBezTo>
                  <a:pt x="420960" y="66788"/>
                  <a:pt x="421420" y="90504"/>
                  <a:pt x="415435" y="112987"/>
                </a:cubicBezTo>
                <a:cubicBezTo>
                  <a:pt x="412957" y="122525"/>
                  <a:pt x="427472" y="124410"/>
                  <a:pt x="429839" y="115333"/>
                </a:cubicBezTo>
                <a:cubicBezTo>
                  <a:pt x="436416" y="90377"/>
                  <a:pt x="435890" y="64074"/>
                  <a:pt x="428282" y="39409"/>
                </a:cubicBezTo>
                <a:close/>
                <a:moveTo>
                  <a:pt x="355252" y="29850"/>
                </a:moveTo>
                <a:cubicBezTo>
                  <a:pt x="330082" y="690"/>
                  <a:pt x="264638" y="-12925"/>
                  <a:pt x="241244" y="24895"/>
                </a:cubicBezTo>
                <a:cubicBezTo>
                  <a:pt x="200004" y="60697"/>
                  <a:pt x="156440" y="95053"/>
                  <a:pt x="117634" y="133421"/>
                </a:cubicBezTo>
                <a:cubicBezTo>
                  <a:pt x="99809" y="151092"/>
                  <a:pt x="88540" y="173653"/>
                  <a:pt x="70890" y="191214"/>
                </a:cubicBezTo>
                <a:cubicBezTo>
                  <a:pt x="50566" y="211451"/>
                  <a:pt x="28708" y="230328"/>
                  <a:pt x="7638" y="249775"/>
                </a:cubicBezTo>
                <a:cubicBezTo>
                  <a:pt x="4986" y="251893"/>
                  <a:pt x="4525" y="255769"/>
                  <a:pt x="6651" y="258431"/>
                </a:cubicBezTo>
                <a:cubicBezTo>
                  <a:pt x="7178" y="259093"/>
                  <a:pt x="7835" y="259639"/>
                  <a:pt x="8581" y="260035"/>
                </a:cubicBezTo>
                <a:cubicBezTo>
                  <a:pt x="8581" y="260189"/>
                  <a:pt x="8581" y="260320"/>
                  <a:pt x="8581" y="260474"/>
                </a:cubicBezTo>
                <a:cubicBezTo>
                  <a:pt x="5928" y="298776"/>
                  <a:pt x="3780" y="337210"/>
                  <a:pt x="1302" y="375468"/>
                </a:cubicBezTo>
                <a:cubicBezTo>
                  <a:pt x="1192" y="376755"/>
                  <a:pt x="1455" y="378047"/>
                  <a:pt x="2091" y="379173"/>
                </a:cubicBezTo>
                <a:cubicBezTo>
                  <a:pt x="2990" y="382245"/>
                  <a:pt x="5906" y="384273"/>
                  <a:pt x="9107" y="384041"/>
                </a:cubicBezTo>
                <a:cubicBezTo>
                  <a:pt x="51224" y="382944"/>
                  <a:pt x="90030" y="370645"/>
                  <a:pt x="129276" y="356328"/>
                </a:cubicBezTo>
                <a:cubicBezTo>
                  <a:pt x="132389" y="355274"/>
                  <a:pt x="134428" y="352250"/>
                  <a:pt x="134209" y="348961"/>
                </a:cubicBezTo>
                <a:lnTo>
                  <a:pt x="340540" y="141314"/>
                </a:lnTo>
                <a:cubicBezTo>
                  <a:pt x="342141" y="139898"/>
                  <a:pt x="342974" y="137789"/>
                  <a:pt x="342733" y="135657"/>
                </a:cubicBezTo>
                <a:cubicBezTo>
                  <a:pt x="376365" y="110905"/>
                  <a:pt x="383315" y="62210"/>
                  <a:pt x="355361" y="29850"/>
                </a:cubicBezTo>
                <a:close/>
                <a:moveTo>
                  <a:pt x="79002" y="203360"/>
                </a:moveTo>
                <a:cubicBezTo>
                  <a:pt x="97069" y="186084"/>
                  <a:pt x="108316" y="163458"/>
                  <a:pt x="125833" y="145611"/>
                </a:cubicBezTo>
                <a:cubicBezTo>
                  <a:pt x="145215" y="125879"/>
                  <a:pt x="167074" y="108471"/>
                  <a:pt x="187880" y="90274"/>
                </a:cubicBezTo>
                <a:cubicBezTo>
                  <a:pt x="194457" y="101411"/>
                  <a:pt x="201254" y="112549"/>
                  <a:pt x="208752" y="123160"/>
                </a:cubicBezTo>
                <a:cubicBezTo>
                  <a:pt x="159071" y="166297"/>
                  <a:pt x="112021" y="212369"/>
                  <a:pt x="67865" y="261132"/>
                </a:cubicBezTo>
                <a:cubicBezTo>
                  <a:pt x="53417" y="259321"/>
                  <a:pt x="39056" y="256736"/>
                  <a:pt x="24871" y="253392"/>
                </a:cubicBezTo>
                <a:cubicBezTo>
                  <a:pt x="43002" y="236817"/>
                  <a:pt x="61288" y="220352"/>
                  <a:pt x="79024" y="203360"/>
                </a:cubicBezTo>
                <a:close/>
                <a:moveTo>
                  <a:pt x="217324" y="134671"/>
                </a:moveTo>
                <a:cubicBezTo>
                  <a:pt x="223902" y="143123"/>
                  <a:pt x="231159" y="151027"/>
                  <a:pt x="239030" y="158306"/>
                </a:cubicBezTo>
                <a:cubicBezTo>
                  <a:pt x="200092" y="206871"/>
                  <a:pt x="157580" y="252469"/>
                  <a:pt x="111868" y="294720"/>
                </a:cubicBezTo>
                <a:cubicBezTo>
                  <a:pt x="100554" y="295851"/>
                  <a:pt x="89395" y="298309"/>
                  <a:pt x="78652" y="302043"/>
                </a:cubicBezTo>
                <a:cubicBezTo>
                  <a:pt x="79222" y="290949"/>
                  <a:pt x="79792" y="279862"/>
                  <a:pt x="80384" y="268783"/>
                </a:cubicBezTo>
                <a:cubicBezTo>
                  <a:pt x="123334" y="221400"/>
                  <a:pt x="169069" y="176617"/>
                  <a:pt x="217346" y="134671"/>
                </a:cubicBezTo>
                <a:close/>
                <a:moveTo>
                  <a:pt x="40920" y="366194"/>
                </a:moveTo>
                <a:cubicBezTo>
                  <a:pt x="41073" y="365475"/>
                  <a:pt x="41161" y="364738"/>
                  <a:pt x="41161" y="364002"/>
                </a:cubicBezTo>
                <a:lnTo>
                  <a:pt x="42827" y="365843"/>
                </a:lnTo>
                <a:close/>
                <a:moveTo>
                  <a:pt x="58963" y="362752"/>
                </a:moveTo>
                <a:cubicBezTo>
                  <a:pt x="58701" y="361467"/>
                  <a:pt x="58087" y="360279"/>
                  <a:pt x="57209" y="359310"/>
                </a:cubicBezTo>
                <a:lnTo>
                  <a:pt x="22262" y="320394"/>
                </a:lnTo>
                <a:cubicBezTo>
                  <a:pt x="21560" y="319593"/>
                  <a:pt x="20661" y="318977"/>
                  <a:pt x="19675" y="318596"/>
                </a:cubicBezTo>
                <a:cubicBezTo>
                  <a:pt x="20727" y="301846"/>
                  <a:pt x="21780" y="285102"/>
                  <a:pt x="22810" y="268367"/>
                </a:cubicBezTo>
                <a:cubicBezTo>
                  <a:pt x="36841" y="271638"/>
                  <a:pt x="51048" y="274157"/>
                  <a:pt x="65343" y="275909"/>
                </a:cubicBezTo>
                <a:cubicBezTo>
                  <a:pt x="64708" y="287820"/>
                  <a:pt x="64094" y="299734"/>
                  <a:pt x="63480" y="311646"/>
                </a:cubicBezTo>
                <a:cubicBezTo>
                  <a:pt x="63326" y="313209"/>
                  <a:pt x="63765" y="314777"/>
                  <a:pt x="64708" y="316031"/>
                </a:cubicBezTo>
                <a:cubicBezTo>
                  <a:pt x="65651" y="319225"/>
                  <a:pt x="68983" y="321058"/>
                  <a:pt x="72184" y="320122"/>
                </a:cubicBezTo>
                <a:cubicBezTo>
                  <a:pt x="72579" y="320008"/>
                  <a:pt x="72952" y="319857"/>
                  <a:pt x="73302" y="319670"/>
                </a:cubicBezTo>
                <a:cubicBezTo>
                  <a:pt x="84483" y="314906"/>
                  <a:pt x="96235" y="311655"/>
                  <a:pt x="108272" y="310001"/>
                </a:cubicBezTo>
                <a:cubicBezTo>
                  <a:pt x="108995" y="322277"/>
                  <a:pt x="110990" y="334443"/>
                  <a:pt x="114213" y="346309"/>
                </a:cubicBezTo>
                <a:cubicBezTo>
                  <a:pt x="96147" y="352890"/>
                  <a:pt x="77709" y="358380"/>
                  <a:pt x="58985" y="362752"/>
                </a:cubicBezTo>
                <a:close/>
                <a:moveTo>
                  <a:pt x="126930" y="336004"/>
                </a:moveTo>
                <a:cubicBezTo>
                  <a:pt x="124496" y="325504"/>
                  <a:pt x="123093" y="314790"/>
                  <a:pt x="122764" y="304016"/>
                </a:cubicBezTo>
                <a:cubicBezTo>
                  <a:pt x="168477" y="261726"/>
                  <a:pt x="210989" y="216092"/>
                  <a:pt x="249927" y="167492"/>
                </a:cubicBezTo>
                <a:cubicBezTo>
                  <a:pt x="258609" y="174100"/>
                  <a:pt x="268102" y="179559"/>
                  <a:pt x="278187" y="183738"/>
                </a:cubicBezTo>
                <a:close/>
                <a:moveTo>
                  <a:pt x="289873" y="172030"/>
                </a:moveTo>
                <a:cubicBezTo>
                  <a:pt x="246988" y="156508"/>
                  <a:pt x="221425" y="118096"/>
                  <a:pt x="199412" y="80188"/>
                </a:cubicBezTo>
                <a:lnTo>
                  <a:pt x="214430" y="67034"/>
                </a:lnTo>
                <a:cubicBezTo>
                  <a:pt x="217522" y="73918"/>
                  <a:pt x="222696" y="79487"/>
                  <a:pt x="228199" y="85034"/>
                </a:cubicBezTo>
                <a:cubicBezTo>
                  <a:pt x="238328" y="95250"/>
                  <a:pt x="248677" y="105270"/>
                  <a:pt x="258893" y="115377"/>
                </a:cubicBezTo>
                <a:cubicBezTo>
                  <a:pt x="273912" y="130220"/>
                  <a:pt x="288579" y="146072"/>
                  <a:pt x="308772" y="152912"/>
                </a:cubicBezTo>
                <a:close/>
                <a:moveTo>
                  <a:pt x="329929" y="126953"/>
                </a:moveTo>
                <a:cubicBezTo>
                  <a:pt x="327101" y="128519"/>
                  <a:pt x="325785" y="131882"/>
                  <a:pt x="326794" y="134956"/>
                </a:cubicBezTo>
                <a:lnTo>
                  <a:pt x="320589" y="141204"/>
                </a:lnTo>
                <a:cubicBezTo>
                  <a:pt x="319800" y="140634"/>
                  <a:pt x="318901" y="140231"/>
                  <a:pt x="317959" y="140020"/>
                </a:cubicBezTo>
                <a:cubicBezTo>
                  <a:pt x="297700" y="135241"/>
                  <a:pt x="283230" y="117986"/>
                  <a:pt x="269001" y="103933"/>
                </a:cubicBezTo>
                <a:lnTo>
                  <a:pt x="244445" y="79684"/>
                </a:lnTo>
                <a:cubicBezTo>
                  <a:pt x="237407" y="72712"/>
                  <a:pt x="229405" y="66244"/>
                  <a:pt x="226752" y="56488"/>
                </a:cubicBezTo>
                <a:lnTo>
                  <a:pt x="248852" y="37282"/>
                </a:lnTo>
                <a:cubicBezTo>
                  <a:pt x="250584" y="36602"/>
                  <a:pt x="251987" y="35318"/>
                  <a:pt x="252842" y="33664"/>
                </a:cubicBezTo>
                <a:cubicBezTo>
                  <a:pt x="262094" y="16125"/>
                  <a:pt x="283537" y="15708"/>
                  <a:pt x="300704" y="18602"/>
                </a:cubicBezTo>
                <a:cubicBezTo>
                  <a:pt x="318857" y="21628"/>
                  <a:pt x="335585" y="28183"/>
                  <a:pt x="346855" y="43355"/>
                </a:cubicBezTo>
                <a:cubicBezTo>
                  <a:pt x="367442" y="71046"/>
                  <a:pt x="358848" y="109129"/>
                  <a:pt x="329929" y="126953"/>
                </a:cubicBezTo>
                <a:close/>
                <a:moveTo>
                  <a:pt x="374699" y="1720"/>
                </a:moveTo>
                <a:cubicBezTo>
                  <a:pt x="367639" y="-4353"/>
                  <a:pt x="357642" y="7136"/>
                  <a:pt x="364701" y="13209"/>
                </a:cubicBezTo>
                <a:cubicBezTo>
                  <a:pt x="399145" y="42917"/>
                  <a:pt x="389674" y="103099"/>
                  <a:pt x="370139" y="138179"/>
                </a:cubicBezTo>
                <a:cubicBezTo>
                  <a:pt x="365381" y="146773"/>
                  <a:pt x="378624" y="152561"/>
                  <a:pt x="383293" y="144208"/>
                </a:cubicBezTo>
                <a:cubicBezTo>
                  <a:pt x="405963" y="103428"/>
                  <a:pt x="414163" y="35769"/>
                  <a:pt x="374699" y="1720"/>
                </a:cubicBezTo>
                <a:close/>
                <a:moveTo>
                  <a:pt x="312960" y="38861"/>
                </a:moveTo>
                <a:cubicBezTo>
                  <a:pt x="296823" y="29499"/>
                  <a:pt x="276959" y="33182"/>
                  <a:pt x="263848" y="45876"/>
                </a:cubicBezTo>
                <a:cubicBezTo>
                  <a:pt x="256855" y="52673"/>
                  <a:pt x="267751" y="62035"/>
                  <a:pt x="274811" y="55304"/>
                </a:cubicBezTo>
                <a:cubicBezTo>
                  <a:pt x="283449" y="46929"/>
                  <a:pt x="296275" y="46644"/>
                  <a:pt x="306316" y="52454"/>
                </a:cubicBezTo>
                <a:cubicBezTo>
                  <a:pt x="314143" y="57080"/>
                  <a:pt x="321094" y="43640"/>
                  <a:pt x="312938" y="3886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graphicFrame>
        <p:nvGraphicFramePr>
          <p:cNvPr id="2" name="Diagrama 1">
            <a:extLst>
              <a:ext uri="{FF2B5EF4-FFF2-40B4-BE49-F238E27FC236}">
                <a16:creationId xmlns:a16="http://schemas.microsoft.com/office/drawing/2014/main" id="{F6AD3D08-9057-464D-8520-EEDF2C0D5C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3216991"/>
              </p:ext>
            </p:extLst>
          </p:nvPr>
        </p:nvGraphicFramePr>
        <p:xfrm>
          <a:off x="580020" y="-103047"/>
          <a:ext cx="3260880" cy="29593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0" name="TextShape 1"/>
          <p:cNvSpPr txBox="1"/>
          <p:nvPr/>
        </p:nvSpPr>
        <p:spPr>
          <a:xfrm>
            <a:off x="2222280" y="2692440"/>
            <a:ext cx="5913720" cy="6670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5200" b="1" strike="noStrike" spc="-1">
                <a:solidFill>
                  <a:srgbClr val="2B3547"/>
                </a:solidFill>
                <a:latin typeface="Amatic SC"/>
                <a:ea typeface="Amatic SC"/>
              </a:rPr>
              <a:t>Redescobrir o propósito da vida, redefinir metas,</a:t>
            </a:r>
            <a:br/>
            <a:r>
              <a:rPr lang="pt-BR" sz="5200" b="1" strike="noStrike" spc="-1">
                <a:solidFill>
                  <a:srgbClr val="2B3547"/>
                </a:solidFill>
                <a:latin typeface="Amatic SC"/>
                <a:ea typeface="Amatic SC"/>
              </a:rPr>
              <a:t> empreender soluções </a:t>
            </a:r>
            <a:endParaRPr lang="pt-BR" sz="5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1" name="CustomShape 2"/>
          <p:cNvSpPr/>
          <p:nvPr/>
        </p:nvSpPr>
        <p:spPr>
          <a:xfrm rot="20388600">
            <a:off x="874440" y="686520"/>
            <a:ext cx="981720" cy="1157400"/>
          </a:xfrm>
          <a:custGeom>
            <a:avLst/>
            <a:gdLst/>
            <a:ahLst/>
            <a:cxnLst/>
            <a:rect l="l" t="t" r="r" b="b"/>
            <a:pathLst>
              <a:path w="584559" h="658270">
                <a:moveTo>
                  <a:pt x="400656" y="592594"/>
                </a:moveTo>
                <a:cubicBezTo>
                  <a:pt x="398705" y="592697"/>
                  <a:pt x="396842" y="593473"/>
                  <a:pt x="395395" y="594786"/>
                </a:cubicBezTo>
                <a:cubicBezTo>
                  <a:pt x="372790" y="614869"/>
                  <a:pt x="326968" y="608292"/>
                  <a:pt x="296493" y="605310"/>
                </a:cubicBezTo>
                <a:cubicBezTo>
                  <a:pt x="253302" y="602043"/>
                  <a:pt x="220963" y="596014"/>
                  <a:pt x="191671" y="585731"/>
                </a:cubicBezTo>
                <a:cubicBezTo>
                  <a:pt x="185292" y="583232"/>
                  <a:pt x="178517" y="589173"/>
                  <a:pt x="177552" y="595027"/>
                </a:cubicBezTo>
                <a:cubicBezTo>
                  <a:pt x="176719" y="598472"/>
                  <a:pt x="178846" y="601934"/>
                  <a:pt x="182288" y="602767"/>
                </a:cubicBezTo>
                <a:cubicBezTo>
                  <a:pt x="218069" y="615921"/>
                  <a:pt x="265294" y="622893"/>
                  <a:pt x="316028" y="625524"/>
                </a:cubicBezTo>
                <a:cubicBezTo>
                  <a:pt x="346152" y="628462"/>
                  <a:pt x="384498" y="628528"/>
                  <a:pt x="404515" y="610440"/>
                </a:cubicBezTo>
                <a:cubicBezTo>
                  <a:pt x="412320" y="604038"/>
                  <a:pt x="407585" y="592901"/>
                  <a:pt x="400656" y="592594"/>
                </a:cubicBezTo>
                <a:close/>
                <a:moveTo>
                  <a:pt x="310547" y="639710"/>
                </a:moveTo>
                <a:lnTo>
                  <a:pt x="268429" y="637692"/>
                </a:lnTo>
                <a:cubicBezTo>
                  <a:pt x="263694" y="637495"/>
                  <a:pt x="258191" y="639490"/>
                  <a:pt x="256788" y="645673"/>
                </a:cubicBezTo>
                <a:cubicBezTo>
                  <a:pt x="256042" y="649839"/>
                  <a:pt x="258191" y="655671"/>
                  <a:pt x="263365" y="656241"/>
                </a:cubicBezTo>
                <a:lnTo>
                  <a:pt x="305460" y="658258"/>
                </a:lnTo>
                <a:cubicBezTo>
                  <a:pt x="310218" y="658455"/>
                  <a:pt x="315699" y="656460"/>
                  <a:pt x="317124" y="650277"/>
                </a:cubicBezTo>
                <a:cubicBezTo>
                  <a:pt x="317847" y="646111"/>
                  <a:pt x="315699" y="640258"/>
                  <a:pt x="310547" y="639710"/>
                </a:cubicBezTo>
                <a:close/>
                <a:moveTo>
                  <a:pt x="85075" y="404459"/>
                </a:moveTo>
                <a:cubicBezTo>
                  <a:pt x="50631" y="383609"/>
                  <a:pt x="26799" y="349648"/>
                  <a:pt x="17985" y="308824"/>
                </a:cubicBezTo>
                <a:cubicBezTo>
                  <a:pt x="14894" y="296437"/>
                  <a:pt x="-2448" y="306303"/>
                  <a:pt x="292" y="316257"/>
                </a:cubicBezTo>
                <a:cubicBezTo>
                  <a:pt x="9829" y="360347"/>
                  <a:pt x="37038" y="397925"/>
                  <a:pt x="77028" y="422064"/>
                </a:cubicBezTo>
                <a:cubicBezTo>
                  <a:pt x="82224" y="425572"/>
                  <a:pt x="87991" y="421034"/>
                  <a:pt x="89262" y="415641"/>
                </a:cubicBezTo>
                <a:cubicBezTo>
                  <a:pt x="90643" y="411394"/>
                  <a:pt x="88911" y="406755"/>
                  <a:pt x="85075" y="404459"/>
                </a:cubicBezTo>
                <a:close/>
                <a:moveTo>
                  <a:pt x="329906" y="581522"/>
                </a:moveTo>
                <a:cubicBezTo>
                  <a:pt x="357816" y="581522"/>
                  <a:pt x="380332" y="577751"/>
                  <a:pt x="400656" y="569661"/>
                </a:cubicBezTo>
                <a:cubicBezTo>
                  <a:pt x="405261" y="567896"/>
                  <a:pt x="407870" y="563002"/>
                  <a:pt x="406752" y="558194"/>
                </a:cubicBezTo>
                <a:cubicBezTo>
                  <a:pt x="406357" y="554364"/>
                  <a:pt x="403243" y="551382"/>
                  <a:pt x="399407" y="551134"/>
                </a:cubicBezTo>
                <a:cubicBezTo>
                  <a:pt x="398135" y="551161"/>
                  <a:pt x="396885" y="551428"/>
                  <a:pt x="395701" y="551924"/>
                </a:cubicBezTo>
                <a:cubicBezTo>
                  <a:pt x="365511" y="565078"/>
                  <a:pt x="319887" y="564201"/>
                  <a:pt x="285399" y="560123"/>
                </a:cubicBezTo>
                <a:cubicBezTo>
                  <a:pt x="250079" y="556857"/>
                  <a:pt x="213553" y="549337"/>
                  <a:pt x="177004" y="540545"/>
                </a:cubicBezTo>
                <a:cubicBezTo>
                  <a:pt x="172137" y="540545"/>
                  <a:pt x="169352" y="544930"/>
                  <a:pt x="168826" y="549095"/>
                </a:cubicBezTo>
                <a:cubicBezTo>
                  <a:pt x="167884" y="553862"/>
                  <a:pt x="170887" y="558516"/>
                  <a:pt x="175623" y="559619"/>
                </a:cubicBezTo>
                <a:cubicBezTo>
                  <a:pt x="226663" y="572796"/>
                  <a:pt x="279633" y="581061"/>
                  <a:pt x="329906" y="581522"/>
                </a:cubicBezTo>
                <a:close/>
                <a:moveTo>
                  <a:pt x="216951" y="106307"/>
                </a:moveTo>
                <a:cubicBezTo>
                  <a:pt x="171238" y="119725"/>
                  <a:pt x="136444" y="158926"/>
                  <a:pt x="123991" y="204968"/>
                </a:cubicBezTo>
                <a:cubicBezTo>
                  <a:pt x="122237" y="210887"/>
                  <a:pt x="126183" y="214877"/>
                  <a:pt x="132081" y="214899"/>
                </a:cubicBezTo>
                <a:cubicBezTo>
                  <a:pt x="136860" y="215086"/>
                  <a:pt x="141114" y="211902"/>
                  <a:pt x="142276" y="207270"/>
                </a:cubicBezTo>
                <a:cubicBezTo>
                  <a:pt x="152602" y="168886"/>
                  <a:pt x="181104" y="138014"/>
                  <a:pt x="218551" y="124658"/>
                </a:cubicBezTo>
                <a:cubicBezTo>
                  <a:pt x="228198" y="121216"/>
                  <a:pt x="226334" y="106811"/>
                  <a:pt x="216951" y="106307"/>
                </a:cubicBezTo>
                <a:close/>
                <a:moveTo>
                  <a:pt x="259660" y="91574"/>
                </a:moveTo>
                <a:cubicBezTo>
                  <a:pt x="248325" y="91574"/>
                  <a:pt x="248127" y="110232"/>
                  <a:pt x="260690" y="110297"/>
                </a:cubicBezTo>
                <a:cubicBezTo>
                  <a:pt x="272025" y="110407"/>
                  <a:pt x="272201" y="91640"/>
                  <a:pt x="259660" y="91574"/>
                </a:cubicBezTo>
                <a:close/>
                <a:moveTo>
                  <a:pt x="557483" y="48689"/>
                </a:moveTo>
                <a:cubicBezTo>
                  <a:pt x="551256" y="39700"/>
                  <a:pt x="533760" y="49939"/>
                  <a:pt x="541193" y="59235"/>
                </a:cubicBezTo>
                <a:cubicBezTo>
                  <a:pt x="556321" y="77557"/>
                  <a:pt x="565003" y="100330"/>
                  <a:pt x="565946" y="124066"/>
                </a:cubicBezTo>
                <a:cubicBezTo>
                  <a:pt x="565770" y="128275"/>
                  <a:pt x="569059" y="131825"/>
                  <a:pt x="573268" y="131992"/>
                </a:cubicBezTo>
                <a:cubicBezTo>
                  <a:pt x="573532" y="132003"/>
                  <a:pt x="573817" y="131998"/>
                  <a:pt x="574080" y="131981"/>
                </a:cubicBezTo>
                <a:cubicBezTo>
                  <a:pt x="579561" y="132272"/>
                  <a:pt x="584253" y="128058"/>
                  <a:pt x="584538" y="122569"/>
                </a:cubicBezTo>
                <a:cubicBezTo>
                  <a:pt x="584560" y="122323"/>
                  <a:pt x="584560" y="122075"/>
                  <a:pt x="584560" y="121830"/>
                </a:cubicBezTo>
                <a:cubicBezTo>
                  <a:pt x="583639" y="95169"/>
                  <a:pt x="574146" y="69515"/>
                  <a:pt x="557483" y="48689"/>
                </a:cubicBezTo>
                <a:close/>
                <a:moveTo>
                  <a:pt x="403682" y="258"/>
                </a:moveTo>
                <a:cubicBezTo>
                  <a:pt x="392720" y="-2395"/>
                  <a:pt x="387765" y="16219"/>
                  <a:pt x="399780" y="18960"/>
                </a:cubicBezTo>
                <a:cubicBezTo>
                  <a:pt x="493595" y="37946"/>
                  <a:pt x="532160" y="149148"/>
                  <a:pt x="535120" y="227659"/>
                </a:cubicBezTo>
                <a:cubicBezTo>
                  <a:pt x="535076" y="232018"/>
                  <a:pt x="538562" y="235590"/>
                  <a:pt x="542925" y="235633"/>
                </a:cubicBezTo>
                <a:cubicBezTo>
                  <a:pt x="543122" y="235636"/>
                  <a:pt x="543320" y="235631"/>
                  <a:pt x="543517" y="235618"/>
                </a:cubicBezTo>
                <a:cubicBezTo>
                  <a:pt x="546499" y="235695"/>
                  <a:pt x="549371" y="234555"/>
                  <a:pt x="551497" y="232461"/>
                </a:cubicBezTo>
                <a:cubicBezTo>
                  <a:pt x="553208" y="230630"/>
                  <a:pt x="554062" y="228157"/>
                  <a:pt x="553822" y="225664"/>
                </a:cubicBezTo>
                <a:cubicBezTo>
                  <a:pt x="551629" y="188393"/>
                  <a:pt x="542859" y="133800"/>
                  <a:pt x="514993" y="85610"/>
                </a:cubicBezTo>
                <a:cubicBezTo>
                  <a:pt x="488442" y="39898"/>
                  <a:pt x="451017" y="11220"/>
                  <a:pt x="403682" y="258"/>
                </a:cubicBezTo>
                <a:close/>
                <a:moveTo>
                  <a:pt x="431548" y="75240"/>
                </a:moveTo>
                <a:cubicBezTo>
                  <a:pt x="312936" y="-26709"/>
                  <a:pt x="83934" y="43559"/>
                  <a:pt x="55323" y="204968"/>
                </a:cubicBezTo>
                <a:cubicBezTo>
                  <a:pt x="46553" y="255569"/>
                  <a:pt x="59708" y="304373"/>
                  <a:pt x="92134" y="342369"/>
                </a:cubicBezTo>
                <a:cubicBezTo>
                  <a:pt x="111406" y="364995"/>
                  <a:pt x="133352" y="384398"/>
                  <a:pt x="147757" y="411431"/>
                </a:cubicBezTo>
                <a:cubicBezTo>
                  <a:pt x="162161" y="438464"/>
                  <a:pt x="168498" y="469312"/>
                  <a:pt x="166524" y="502681"/>
                </a:cubicBezTo>
                <a:cubicBezTo>
                  <a:pt x="166480" y="503654"/>
                  <a:pt x="165998" y="504556"/>
                  <a:pt x="165209" y="505137"/>
                </a:cubicBezTo>
                <a:cubicBezTo>
                  <a:pt x="161986" y="507785"/>
                  <a:pt x="160495" y="512012"/>
                  <a:pt x="161350" y="516099"/>
                </a:cubicBezTo>
                <a:cubicBezTo>
                  <a:pt x="161964" y="519442"/>
                  <a:pt x="164573" y="522060"/>
                  <a:pt x="167928" y="522676"/>
                </a:cubicBezTo>
                <a:cubicBezTo>
                  <a:pt x="215043" y="533845"/>
                  <a:pt x="263124" y="540387"/>
                  <a:pt x="311511" y="542211"/>
                </a:cubicBezTo>
                <a:cubicBezTo>
                  <a:pt x="350011" y="543022"/>
                  <a:pt x="388510" y="548218"/>
                  <a:pt x="425651" y="525855"/>
                </a:cubicBezTo>
                <a:cubicBezTo>
                  <a:pt x="429180" y="523911"/>
                  <a:pt x="430847" y="519741"/>
                  <a:pt x="429619" y="515902"/>
                </a:cubicBezTo>
                <a:cubicBezTo>
                  <a:pt x="428610" y="511990"/>
                  <a:pt x="425190" y="509184"/>
                  <a:pt x="421156" y="508973"/>
                </a:cubicBezTo>
                <a:cubicBezTo>
                  <a:pt x="418656" y="508601"/>
                  <a:pt x="416004" y="511626"/>
                  <a:pt x="413526" y="510048"/>
                </a:cubicBezTo>
                <a:cubicBezTo>
                  <a:pt x="412518" y="509440"/>
                  <a:pt x="411926" y="508346"/>
                  <a:pt x="411948" y="507176"/>
                </a:cubicBezTo>
                <a:cubicBezTo>
                  <a:pt x="412452" y="477012"/>
                  <a:pt x="419906" y="447368"/>
                  <a:pt x="433719" y="420552"/>
                </a:cubicBezTo>
                <a:cubicBezTo>
                  <a:pt x="441458" y="405731"/>
                  <a:pt x="451697" y="392642"/>
                  <a:pt x="461607" y="379969"/>
                </a:cubicBezTo>
                <a:cubicBezTo>
                  <a:pt x="467856" y="371989"/>
                  <a:pt x="474323" y="363723"/>
                  <a:pt x="480045" y="355151"/>
                </a:cubicBezTo>
                <a:cubicBezTo>
                  <a:pt x="530231" y="279708"/>
                  <a:pt x="512033" y="136629"/>
                  <a:pt x="431548" y="75240"/>
                </a:cubicBezTo>
                <a:close/>
                <a:moveTo>
                  <a:pt x="334116" y="324171"/>
                </a:moveTo>
                <a:cubicBezTo>
                  <a:pt x="324644" y="390296"/>
                  <a:pt x="323548" y="458108"/>
                  <a:pt x="320961" y="523312"/>
                </a:cubicBezTo>
                <a:cubicBezTo>
                  <a:pt x="320303" y="523941"/>
                  <a:pt x="319404" y="524268"/>
                  <a:pt x="318483" y="524211"/>
                </a:cubicBezTo>
                <a:cubicBezTo>
                  <a:pt x="310788" y="523685"/>
                  <a:pt x="302873" y="523027"/>
                  <a:pt x="295419" y="522567"/>
                </a:cubicBezTo>
                <a:cubicBezTo>
                  <a:pt x="285224" y="521909"/>
                  <a:pt x="274832" y="520988"/>
                  <a:pt x="263694" y="519760"/>
                </a:cubicBezTo>
                <a:cubicBezTo>
                  <a:pt x="262006" y="519589"/>
                  <a:pt x="260734" y="518149"/>
                  <a:pt x="260756" y="516450"/>
                </a:cubicBezTo>
                <a:cubicBezTo>
                  <a:pt x="256108" y="449957"/>
                  <a:pt x="246001" y="383960"/>
                  <a:pt x="230522" y="319129"/>
                </a:cubicBezTo>
                <a:cubicBezTo>
                  <a:pt x="230127" y="317344"/>
                  <a:pt x="231245" y="315575"/>
                  <a:pt x="233021" y="315174"/>
                </a:cubicBezTo>
                <a:cubicBezTo>
                  <a:pt x="233263" y="315123"/>
                  <a:pt x="233482" y="315097"/>
                  <a:pt x="233723" y="315095"/>
                </a:cubicBezTo>
                <a:cubicBezTo>
                  <a:pt x="235170" y="315095"/>
                  <a:pt x="236639" y="315270"/>
                  <a:pt x="238108" y="315270"/>
                </a:cubicBezTo>
                <a:cubicBezTo>
                  <a:pt x="248654" y="315443"/>
                  <a:pt x="258914" y="311896"/>
                  <a:pt x="267114" y="305250"/>
                </a:cubicBezTo>
                <a:cubicBezTo>
                  <a:pt x="268342" y="304255"/>
                  <a:pt x="270074" y="304255"/>
                  <a:pt x="271302" y="305250"/>
                </a:cubicBezTo>
                <a:cubicBezTo>
                  <a:pt x="284128" y="315555"/>
                  <a:pt x="301338" y="320773"/>
                  <a:pt x="322452" y="320773"/>
                </a:cubicBezTo>
                <a:cubicBezTo>
                  <a:pt x="326003" y="321321"/>
                  <a:pt x="334291" y="318164"/>
                  <a:pt x="334116" y="324171"/>
                </a:cubicBezTo>
                <a:close/>
                <a:moveTo>
                  <a:pt x="269811" y="253245"/>
                </a:moveTo>
                <a:cubicBezTo>
                  <a:pt x="271214" y="252283"/>
                  <a:pt x="273100" y="252539"/>
                  <a:pt x="274196" y="253837"/>
                </a:cubicBezTo>
                <a:cubicBezTo>
                  <a:pt x="276783" y="256863"/>
                  <a:pt x="276892" y="261292"/>
                  <a:pt x="274481" y="266992"/>
                </a:cubicBezTo>
                <a:cubicBezTo>
                  <a:pt x="273779" y="268665"/>
                  <a:pt x="271850" y="269452"/>
                  <a:pt x="270183" y="268746"/>
                </a:cubicBezTo>
                <a:cubicBezTo>
                  <a:pt x="269504" y="268468"/>
                  <a:pt x="268956" y="267983"/>
                  <a:pt x="268605" y="267365"/>
                </a:cubicBezTo>
                <a:cubicBezTo>
                  <a:pt x="263694" y="259033"/>
                  <a:pt x="267268" y="254934"/>
                  <a:pt x="269811" y="253245"/>
                </a:cubicBezTo>
                <a:close/>
                <a:moveTo>
                  <a:pt x="478971" y="317945"/>
                </a:moveTo>
                <a:cubicBezTo>
                  <a:pt x="470201" y="344035"/>
                  <a:pt x="451127" y="362759"/>
                  <a:pt x="435539" y="384157"/>
                </a:cubicBezTo>
                <a:cubicBezTo>
                  <a:pt x="407300" y="422707"/>
                  <a:pt x="392523" y="469481"/>
                  <a:pt x="393487" y="517261"/>
                </a:cubicBezTo>
                <a:cubicBezTo>
                  <a:pt x="393750" y="518936"/>
                  <a:pt x="392698" y="520536"/>
                  <a:pt x="391054" y="520966"/>
                </a:cubicBezTo>
                <a:cubicBezTo>
                  <a:pt x="377241" y="524161"/>
                  <a:pt x="363100" y="525634"/>
                  <a:pt x="348937" y="525351"/>
                </a:cubicBezTo>
                <a:cubicBezTo>
                  <a:pt x="345473" y="525351"/>
                  <a:pt x="339641" y="526338"/>
                  <a:pt x="340561" y="520966"/>
                </a:cubicBezTo>
                <a:cubicBezTo>
                  <a:pt x="340145" y="453831"/>
                  <a:pt x="344332" y="386744"/>
                  <a:pt x="353102" y="320181"/>
                </a:cubicBezTo>
                <a:cubicBezTo>
                  <a:pt x="353431" y="315796"/>
                  <a:pt x="359942" y="316695"/>
                  <a:pt x="363056" y="315423"/>
                </a:cubicBezTo>
                <a:cubicBezTo>
                  <a:pt x="374566" y="312310"/>
                  <a:pt x="368669" y="297182"/>
                  <a:pt x="359855" y="297643"/>
                </a:cubicBezTo>
                <a:cubicBezTo>
                  <a:pt x="341175" y="301567"/>
                  <a:pt x="314603" y="306675"/>
                  <a:pt x="295068" y="297029"/>
                </a:cubicBezTo>
                <a:cubicBezTo>
                  <a:pt x="291100" y="295229"/>
                  <a:pt x="287372" y="292953"/>
                  <a:pt x="283952" y="290254"/>
                </a:cubicBezTo>
                <a:cubicBezTo>
                  <a:pt x="282593" y="289206"/>
                  <a:pt x="282286" y="287294"/>
                  <a:pt x="283228" y="285869"/>
                </a:cubicBezTo>
                <a:cubicBezTo>
                  <a:pt x="293402" y="269864"/>
                  <a:pt x="297633" y="254144"/>
                  <a:pt x="294586" y="243818"/>
                </a:cubicBezTo>
                <a:cubicBezTo>
                  <a:pt x="292393" y="235662"/>
                  <a:pt x="283623" y="229698"/>
                  <a:pt x="275029" y="229720"/>
                </a:cubicBezTo>
                <a:cubicBezTo>
                  <a:pt x="265733" y="229720"/>
                  <a:pt x="256590" y="235991"/>
                  <a:pt x="252249" y="245331"/>
                </a:cubicBezTo>
                <a:cubicBezTo>
                  <a:pt x="245672" y="259560"/>
                  <a:pt x="249859" y="276288"/>
                  <a:pt x="256020" y="287206"/>
                </a:cubicBezTo>
                <a:cubicBezTo>
                  <a:pt x="256810" y="288616"/>
                  <a:pt x="256459" y="290392"/>
                  <a:pt x="255187" y="291394"/>
                </a:cubicBezTo>
                <a:cubicBezTo>
                  <a:pt x="250539" y="294950"/>
                  <a:pt x="244817" y="296785"/>
                  <a:pt x="238963" y="296590"/>
                </a:cubicBezTo>
                <a:cubicBezTo>
                  <a:pt x="226707" y="296912"/>
                  <a:pt x="215723" y="289024"/>
                  <a:pt x="212127" y="277297"/>
                </a:cubicBezTo>
                <a:cubicBezTo>
                  <a:pt x="211491" y="273854"/>
                  <a:pt x="208444" y="271397"/>
                  <a:pt x="204936" y="271509"/>
                </a:cubicBezTo>
                <a:cubicBezTo>
                  <a:pt x="201341" y="271592"/>
                  <a:pt x="197986" y="273302"/>
                  <a:pt x="195815" y="276157"/>
                </a:cubicBezTo>
                <a:cubicBezTo>
                  <a:pt x="189764" y="284093"/>
                  <a:pt x="200858" y="298914"/>
                  <a:pt x="207458" y="304351"/>
                </a:cubicBezTo>
                <a:cubicBezTo>
                  <a:pt x="209277" y="305689"/>
                  <a:pt x="208268" y="308364"/>
                  <a:pt x="208860" y="310096"/>
                </a:cubicBezTo>
                <a:cubicBezTo>
                  <a:pt x="224471" y="376768"/>
                  <a:pt x="239270" y="447015"/>
                  <a:pt x="240717" y="515573"/>
                </a:cubicBezTo>
                <a:cubicBezTo>
                  <a:pt x="239993" y="516254"/>
                  <a:pt x="238985" y="516561"/>
                  <a:pt x="237998" y="516406"/>
                </a:cubicBezTo>
                <a:cubicBezTo>
                  <a:pt x="221051" y="513950"/>
                  <a:pt x="203971" y="510881"/>
                  <a:pt x="187243" y="507263"/>
                </a:cubicBezTo>
                <a:cubicBezTo>
                  <a:pt x="185445" y="506853"/>
                  <a:pt x="184327" y="505064"/>
                  <a:pt x="184743" y="503271"/>
                </a:cubicBezTo>
                <a:cubicBezTo>
                  <a:pt x="184743" y="503264"/>
                  <a:pt x="184743" y="503258"/>
                  <a:pt x="184743" y="503251"/>
                </a:cubicBezTo>
                <a:cubicBezTo>
                  <a:pt x="189128" y="453088"/>
                  <a:pt x="172027" y="403538"/>
                  <a:pt x="138351" y="364491"/>
                </a:cubicBezTo>
                <a:cubicBezTo>
                  <a:pt x="121272" y="344758"/>
                  <a:pt x="101847" y="327526"/>
                  <a:pt x="88583" y="304373"/>
                </a:cubicBezTo>
                <a:cubicBezTo>
                  <a:pt x="76480" y="282423"/>
                  <a:pt x="70473" y="257630"/>
                  <a:pt x="71174" y="232571"/>
                </a:cubicBezTo>
                <a:cubicBezTo>
                  <a:pt x="72928" y="120448"/>
                  <a:pt x="178451" y="56078"/>
                  <a:pt x="275073" y="47045"/>
                </a:cubicBezTo>
                <a:cubicBezTo>
                  <a:pt x="428588" y="33145"/>
                  <a:pt x="520649" y="175808"/>
                  <a:pt x="478971" y="317967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22BCD97E-630D-42E4-9779-4EA5E56132BD}"/>
              </a:ext>
            </a:extLst>
          </p:cNvPr>
          <p:cNvSpPr/>
          <p:nvPr/>
        </p:nvSpPr>
        <p:spPr>
          <a:xfrm>
            <a:off x="821874" y="593346"/>
            <a:ext cx="1086851" cy="1087014"/>
          </a:xfrm>
          <a:prstGeom prst="ellipse">
            <a:avLst/>
          </a:prstGeom>
          <a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2" name="TextShape 1"/>
          <p:cNvSpPr txBox="1"/>
          <p:nvPr/>
        </p:nvSpPr>
        <p:spPr>
          <a:xfrm>
            <a:off x="648840" y="2829180"/>
            <a:ext cx="3528360" cy="951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4000" b="1" strike="noStrike" spc="-1" dirty="0">
                <a:solidFill>
                  <a:srgbClr val="2B3547"/>
                </a:solidFill>
                <a:latin typeface="Amatic SC"/>
                <a:ea typeface="Amatic SC"/>
              </a:rPr>
              <a:t>Todo projeto de vida revela, e de certa forma, fortalece um projeto de sociedade. </a:t>
            </a:r>
            <a:r>
              <a:rPr lang="pt-BR" sz="1200" b="1" strike="noStrike" spc="-1" dirty="0">
                <a:solidFill>
                  <a:srgbClr val="2B3547"/>
                </a:solidFill>
                <a:latin typeface="Amatic SC"/>
                <a:ea typeface="Amatic SC"/>
              </a:rPr>
              <a:t>(TB 38)</a:t>
            </a:r>
            <a:endParaRPr lang="pt-BR" sz="12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3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D85636E9-1ABA-4E91-AB3A-68DDACCF773B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27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6BA1D57D-91EA-4081-8598-BC1072E4B70A}"/>
              </a:ext>
            </a:extLst>
          </p:cNvPr>
          <p:cNvSpPr/>
          <p:nvPr/>
        </p:nvSpPr>
        <p:spPr>
          <a:xfrm>
            <a:off x="3228475" y="3855306"/>
            <a:ext cx="733926" cy="716694"/>
          </a:xfrm>
          <a:prstGeom prst="ellipse">
            <a:avLst/>
          </a:prstGeom>
          <a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" name="TextShape 1"/>
          <p:cNvSpPr txBox="1"/>
          <p:nvPr/>
        </p:nvSpPr>
        <p:spPr>
          <a:xfrm>
            <a:off x="1924560" y="3245400"/>
            <a:ext cx="5913720" cy="6670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5200" b="1" strike="noStrike" spc="-1" dirty="0">
                <a:solidFill>
                  <a:srgbClr val="2B3547"/>
                </a:solidFill>
                <a:latin typeface="Amatic SC"/>
                <a:ea typeface="Amatic SC"/>
              </a:rPr>
              <a:t>Educar para reverter a tendência de esvaziamento do coletivo e da crise do compromisso comunitário</a:t>
            </a:r>
            <a:br>
              <a:rPr dirty="0"/>
            </a:br>
            <a:r>
              <a:rPr lang="pt-BR" sz="2000" b="1" strike="noStrike" spc="-1" dirty="0">
                <a:solidFill>
                  <a:srgbClr val="2B3547"/>
                </a:solidFill>
                <a:latin typeface="Amatic SC"/>
                <a:ea typeface="Amatic SC"/>
              </a:rPr>
              <a:t>(TB 39)</a:t>
            </a:r>
            <a:endParaRPr lang="pt-BR" sz="20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5" name="CustomShape 2"/>
          <p:cNvSpPr/>
          <p:nvPr/>
        </p:nvSpPr>
        <p:spPr>
          <a:xfrm rot="20388600">
            <a:off x="874440" y="686520"/>
            <a:ext cx="981720" cy="1157400"/>
          </a:xfrm>
          <a:custGeom>
            <a:avLst/>
            <a:gdLst/>
            <a:ahLst/>
            <a:cxnLst/>
            <a:rect l="l" t="t" r="r" b="b"/>
            <a:pathLst>
              <a:path w="584559" h="658270">
                <a:moveTo>
                  <a:pt x="400656" y="592594"/>
                </a:moveTo>
                <a:cubicBezTo>
                  <a:pt x="398705" y="592697"/>
                  <a:pt x="396842" y="593473"/>
                  <a:pt x="395395" y="594786"/>
                </a:cubicBezTo>
                <a:cubicBezTo>
                  <a:pt x="372790" y="614869"/>
                  <a:pt x="326968" y="608292"/>
                  <a:pt x="296493" y="605310"/>
                </a:cubicBezTo>
                <a:cubicBezTo>
                  <a:pt x="253302" y="602043"/>
                  <a:pt x="220963" y="596014"/>
                  <a:pt x="191671" y="585731"/>
                </a:cubicBezTo>
                <a:cubicBezTo>
                  <a:pt x="185292" y="583232"/>
                  <a:pt x="178517" y="589173"/>
                  <a:pt x="177552" y="595027"/>
                </a:cubicBezTo>
                <a:cubicBezTo>
                  <a:pt x="176719" y="598472"/>
                  <a:pt x="178846" y="601934"/>
                  <a:pt x="182288" y="602767"/>
                </a:cubicBezTo>
                <a:cubicBezTo>
                  <a:pt x="218069" y="615921"/>
                  <a:pt x="265294" y="622893"/>
                  <a:pt x="316028" y="625524"/>
                </a:cubicBezTo>
                <a:cubicBezTo>
                  <a:pt x="346152" y="628462"/>
                  <a:pt x="384498" y="628528"/>
                  <a:pt x="404515" y="610440"/>
                </a:cubicBezTo>
                <a:cubicBezTo>
                  <a:pt x="412320" y="604038"/>
                  <a:pt x="407585" y="592901"/>
                  <a:pt x="400656" y="592594"/>
                </a:cubicBezTo>
                <a:close/>
                <a:moveTo>
                  <a:pt x="310547" y="639710"/>
                </a:moveTo>
                <a:lnTo>
                  <a:pt x="268429" y="637692"/>
                </a:lnTo>
                <a:cubicBezTo>
                  <a:pt x="263694" y="637495"/>
                  <a:pt x="258191" y="639490"/>
                  <a:pt x="256788" y="645673"/>
                </a:cubicBezTo>
                <a:cubicBezTo>
                  <a:pt x="256042" y="649839"/>
                  <a:pt x="258191" y="655671"/>
                  <a:pt x="263365" y="656241"/>
                </a:cubicBezTo>
                <a:lnTo>
                  <a:pt x="305460" y="658258"/>
                </a:lnTo>
                <a:cubicBezTo>
                  <a:pt x="310218" y="658455"/>
                  <a:pt x="315699" y="656460"/>
                  <a:pt x="317124" y="650277"/>
                </a:cubicBezTo>
                <a:cubicBezTo>
                  <a:pt x="317847" y="646111"/>
                  <a:pt x="315699" y="640258"/>
                  <a:pt x="310547" y="639710"/>
                </a:cubicBezTo>
                <a:close/>
                <a:moveTo>
                  <a:pt x="85075" y="404459"/>
                </a:moveTo>
                <a:cubicBezTo>
                  <a:pt x="50631" y="383609"/>
                  <a:pt x="26799" y="349648"/>
                  <a:pt x="17985" y="308824"/>
                </a:cubicBezTo>
                <a:cubicBezTo>
                  <a:pt x="14894" y="296437"/>
                  <a:pt x="-2448" y="306303"/>
                  <a:pt x="292" y="316257"/>
                </a:cubicBezTo>
                <a:cubicBezTo>
                  <a:pt x="9829" y="360347"/>
                  <a:pt x="37038" y="397925"/>
                  <a:pt x="77028" y="422064"/>
                </a:cubicBezTo>
                <a:cubicBezTo>
                  <a:pt x="82224" y="425572"/>
                  <a:pt x="87991" y="421034"/>
                  <a:pt x="89262" y="415641"/>
                </a:cubicBezTo>
                <a:cubicBezTo>
                  <a:pt x="90643" y="411394"/>
                  <a:pt x="88911" y="406755"/>
                  <a:pt x="85075" y="404459"/>
                </a:cubicBezTo>
                <a:close/>
                <a:moveTo>
                  <a:pt x="329906" y="581522"/>
                </a:moveTo>
                <a:cubicBezTo>
                  <a:pt x="357816" y="581522"/>
                  <a:pt x="380332" y="577751"/>
                  <a:pt x="400656" y="569661"/>
                </a:cubicBezTo>
                <a:cubicBezTo>
                  <a:pt x="405261" y="567896"/>
                  <a:pt x="407870" y="563002"/>
                  <a:pt x="406752" y="558194"/>
                </a:cubicBezTo>
                <a:cubicBezTo>
                  <a:pt x="406357" y="554364"/>
                  <a:pt x="403243" y="551382"/>
                  <a:pt x="399407" y="551134"/>
                </a:cubicBezTo>
                <a:cubicBezTo>
                  <a:pt x="398135" y="551161"/>
                  <a:pt x="396885" y="551428"/>
                  <a:pt x="395701" y="551924"/>
                </a:cubicBezTo>
                <a:cubicBezTo>
                  <a:pt x="365511" y="565078"/>
                  <a:pt x="319887" y="564201"/>
                  <a:pt x="285399" y="560123"/>
                </a:cubicBezTo>
                <a:cubicBezTo>
                  <a:pt x="250079" y="556857"/>
                  <a:pt x="213553" y="549337"/>
                  <a:pt x="177004" y="540545"/>
                </a:cubicBezTo>
                <a:cubicBezTo>
                  <a:pt x="172137" y="540545"/>
                  <a:pt x="169352" y="544930"/>
                  <a:pt x="168826" y="549095"/>
                </a:cubicBezTo>
                <a:cubicBezTo>
                  <a:pt x="167884" y="553862"/>
                  <a:pt x="170887" y="558516"/>
                  <a:pt x="175623" y="559619"/>
                </a:cubicBezTo>
                <a:cubicBezTo>
                  <a:pt x="226663" y="572796"/>
                  <a:pt x="279633" y="581061"/>
                  <a:pt x="329906" y="581522"/>
                </a:cubicBezTo>
                <a:close/>
                <a:moveTo>
                  <a:pt x="216951" y="106307"/>
                </a:moveTo>
                <a:cubicBezTo>
                  <a:pt x="171238" y="119725"/>
                  <a:pt x="136444" y="158926"/>
                  <a:pt x="123991" y="204968"/>
                </a:cubicBezTo>
                <a:cubicBezTo>
                  <a:pt x="122237" y="210887"/>
                  <a:pt x="126183" y="214877"/>
                  <a:pt x="132081" y="214899"/>
                </a:cubicBezTo>
                <a:cubicBezTo>
                  <a:pt x="136860" y="215086"/>
                  <a:pt x="141114" y="211902"/>
                  <a:pt x="142276" y="207270"/>
                </a:cubicBezTo>
                <a:cubicBezTo>
                  <a:pt x="152602" y="168886"/>
                  <a:pt x="181104" y="138014"/>
                  <a:pt x="218551" y="124658"/>
                </a:cubicBezTo>
                <a:cubicBezTo>
                  <a:pt x="228198" y="121216"/>
                  <a:pt x="226334" y="106811"/>
                  <a:pt x="216951" y="106307"/>
                </a:cubicBezTo>
                <a:close/>
                <a:moveTo>
                  <a:pt x="259660" y="91574"/>
                </a:moveTo>
                <a:cubicBezTo>
                  <a:pt x="248325" y="91574"/>
                  <a:pt x="248127" y="110232"/>
                  <a:pt x="260690" y="110297"/>
                </a:cubicBezTo>
                <a:cubicBezTo>
                  <a:pt x="272025" y="110407"/>
                  <a:pt x="272201" y="91640"/>
                  <a:pt x="259660" y="91574"/>
                </a:cubicBezTo>
                <a:close/>
                <a:moveTo>
                  <a:pt x="557483" y="48689"/>
                </a:moveTo>
                <a:cubicBezTo>
                  <a:pt x="551256" y="39700"/>
                  <a:pt x="533760" y="49939"/>
                  <a:pt x="541193" y="59235"/>
                </a:cubicBezTo>
                <a:cubicBezTo>
                  <a:pt x="556321" y="77557"/>
                  <a:pt x="565003" y="100330"/>
                  <a:pt x="565946" y="124066"/>
                </a:cubicBezTo>
                <a:cubicBezTo>
                  <a:pt x="565770" y="128275"/>
                  <a:pt x="569059" y="131825"/>
                  <a:pt x="573268" y="131992"/>
                </a:cubicBezTo>
                <a:cubicBezTo>
                  <a:pt x="573532" y="132003"/>
                  <a:pt x="573817" y="131998"/>
                  <a:pt x="574080" y="131981"/>
                </a:cubicBezTo>
                <a:cubicBezTo>
                  <a:pt x="579561" y="132272"/>
                  <a:pt x="584253" y="128058"/>
                  <a:pt x="584538" y="122569"/>
                </a:cubicBezTo>
                <a:cubicBezTo>
                  <a:pt x="584560" y="122323"/>
                  <a:pt x="584560" y="122075"/>
                  <a:pt x="584560" y="121830"/>
                </a:cubicBezTo>
                <a:cubicBezTo>
                  <a:pt x="583639" y="95169"/>
                  <a:pt x="574146" y="69515"/>
                  <a:pt x="557483" y="48689"/>
                </a:cubicBezTo>
                <a:close/>
                <a:moveTo>
                  <a:pt x="403682" y="258"/>
                </a:moveTo>
                <a:cubicBezTo>
                  <a:pt x="392720" y="-2395"/>
                  <a:pt x="387765" y="16219"/>
                  <a:pt x="399780" y="18960"/>
                </a:cubicBezTo>
                <a:cubicBezTo>
                  <a:pt x="493595" y="37946"/>
                  <a:pt x="532160" y="149148"/>
                  <a:pt x="535120" y="227659"/>
                </a:cubicBezTo>
                <a:cubicBezTo>
                  <a:pt x="535076" y="232018"/>
                  <a:pt x="538562" y="235590"/>
                  <a:pt x="542925" y="235633"/>
                </a:cubicBezTo>
                <a:cubicBezTo>
                  <a:pt x="543122" y="235636"/>
                  <a:pt x="543320" y="235631"/>
                  <a:pt x="543517" y="235618"/>
                </a:cubicBezTo>
                <a:cubicBezTo>
                  <a:pt x="546499" y="235695"/>
                  <a:pt x="549371" y="234555"/>
                  <a:pt x="551497" y="232461"/>
                </a:cubicBezTo>
                <a:cubicBezTo>
                  <a:pt x="553208" y="230630"/>
                  <a:pt x="554062" y="228157"/>
                  <a:pt x="553822" y="225664"/>
                </a:cubicBezTo>
                <a:cubicBezTo>
                  <a:pt x="551629" y="188393"/>
                  <a:pt x="542859" y="133800"/>
                  <a:pt x="514993" y="85610"/>
                </a:cubicBezTo>
                <a:cubicBezTo>
                  <a:pt x="488442" y="39898"/>
                  <a:pt x="451017" y="11220"/>
                  <a:pt x="403682" y="258"/>
                </a:cubicBezTo>
                <a:close/>
                <a:moveTo>
                  <a:pt x="431548" y="75240"/>
                </a:moveTo>
                <a:cubicBezTo>
                  <a:pt x="312936" y="-26709"/>
                  <a:pt x="83934" y="43559"/>
                  <a:pt x="55323" y="204968"/>
                </a:cubicBezTo>
                <a:cubicBezTo>
                  <a:pt x="46553" y="255569"/>
                  <a:pt x="59708" y="304373"/>
                  <a:pt x="92134" y="342369"/>
                </a:cubicBezTo>
                <a:cubicBezTo>
                  <a:pt x="111406" y="364995"/>
                  <a:pt x="133352" y="384398"/>
                  <a:pt x="147757" y="411431"/>
                </a:cubicBezTo>
                <a:cubicBezTo>
                  <a:pt x="162161" y="438464"/>
                  <a:pt x="168498" y="469312"/>
                  <a:pt x="166524" y="502681"/>
                </a:cubicBezTo>
                <a:cubicBezTo>
                  <a:pt x="166480" y="503654"/>
                  <a:pt x="165998" y="504556"/>
                  <a:pt x="165209" y="505137"/>
                </a:cubicBezTo>
                <a:cubicBezTo>
                  <a:pt x="161986" y="507785"/>
                  <a:pt x="160495" y="512012"/>
                  <a:pt x="161350" y="516099"/>
                </a:cubicBezTo>
                <a:cubicBezTo>
                  <a:pt x="161964" y="519442"/>
                  <a:pt x="164573" y="522060"/>
                  <a:pt x="167928" y="522676"/>
                </a:cubicBezTo>
                <a:cubicBezTo>
                  <a:pt x="215043" y="533845"/>
                  <a:pt x="263124" y="540387"/>
                  <a:pt x="311511" y="542211"/>
                </a:cubicBezTo>
                <a:cubicBezTo>
                  <a:pt x="350011" y="543022"/>
                  <a:pt x="388510" y="548218"/>
                  <a:pt x="425651" y="525855"/>
                </a:cubicBezTo>
                <a:cubicBezTo>
                  <a:pt x="429180" y="523911"/>
                  <a:pt x="430847" y="519741"/>
                  <a:pt x="429619" y="515902"/>
                </a:cubicBezTo>
                <a:cubicBezTo>
                  <a:pt x="428610" y="511990"/>
                  <a:pt x="425190" y="509184"/>
                  <a:pt x="421156" y="508973"/>
                </a:cubicBezTo>
                <a:cubicBezTo>
                  <a:pt x="418656" y="508601"/>
                  <a:pt x="416004" y="511626"/>
                  <a:pt x="413526" y="510048"/>
                </a:cubicBezTo>
                <a:cubicBezTo>
                  <a:pt x="412518" y="509440"/>
                  <a:pt x="411926" y="508346"/>
                  <a:pt x="411948" y="507176"/>
                </a:cubicBezTo>
                <a:cubicBezTo>
                  <a:pt x="412452" y="477012"/>
                  <a:pt x="419906" y="447368"/>
                  <a:pt x="433719" y="420552"/>
                </a:cubicBezTo>
                <a:cubicBezTo>
                  <a:pt x="441458" y="405731"/>
                  <a:pt x="451697" y="392642"/>
                  <a:pt x="461607" y="379969"/>
                </a:cubicBezTo>
                <a:cubicBezTo>
                  <a:pt x="467856" y="371989"/>
                  <a:pt x="474323" y="363723"/>
                  <a:pt x="480045" y="355151"/>
                </a:cubicBezTo>
                <a:cubicBezTo>
                  <a:pt x="530231" y="279708"/>
                  <a:pt x="512033" y="136629"/>
                  <a:pt x="431548" y="75240"/>
                </a:cubicBezTo>
                <a:close/>
                <a:moveTo>
                  <a:pt x="334116" y="324171"/>
                </a:moveTo>
                <a:cubicBezTo>
                  <a:pt x="324644" y="390296"/>
                  <a:pt x="323548" y="458108"/>
                  <a:pt x="320961" y="523312"/>
                </a:cubicBezTo>
                <a:cubicBezTo>
                  <a:pt x="320303" y="523941"/>
                  <a:pt x="319404" y="524268"/>
                  <a:pt x="318483" y="524211"/>
                </a:cubicBezTo>
                <a:cubicBezTo>
                  <a:pt x="310788" y="523685"/>
                  <a:pt x="302873" y="523027"/>
                  <a:pt x="295419" y="522567"/>
                </a:cubicBezTo>
                <a:cubicBezTo>
                  <a:pt x="285224" y="521909"/>
                  <a:pt x="274832" y="520988"/>
                  <a:pt x="263694" y="519760"/>
                </a:cubicBezTo>
                <a:cubicBezTo>
                  <a:pt x="262006" y="519589"/>
                  <a:pt x="260734" y="518149"/>
                  <a:pt x="260756" y="516450"/>
                </a:cubicBezTo>
                <a:cubicBezTo>
                  <a:pt x="256108" y="449957"/>
                  <a:pt x="246001" y="383960"/>
                  <a:pt x="230522" y="319129"/>
                </a:cubicBezTo>
                <a:cubicBezTo>
                  <a:pt x="230127" y="317344"/>
                  <a:pt x="231245" y="315575"/>
                  <a:pt x="233021" y="315174"/>
                </a:cubicBezTo>
                <a:cubicBezTo>
                  <a:pt x="233263" y="315123"/>
                  <a:pt x="233482" y="315097"/>
                  <a:pt x="233723" y="315095"/>
                </a:cubicBezTo>
                <a:cubicBezTo>
                  <a:pt x="235170" y="315095"/>
                  <a:pt x="236639" y="315270"/>
                  <a:pt x="238108" y="315270"/>
                </a:cubicBezTo>
                <a:cubicBezTo>
                  <a:pt x="248654" y="315443"/>
                  <a:pt x="258914" y="311896"/>
                  <a:pt x="267114" y="305250"/>
                </a:cubicBezTo>
                <a:cubicBezTo>
                  <a:pt x="268342" y="304255"/>
                  <a:pt x="270074" y="304255"/>
                  <a:pt x="271302" y="305250"/>
                </a:cubicBezTo>
                <a:cubicBezTo>
                  <a:pt x="284128" y="315555"/>
                  <a:pt x="301338" y="320773"/>
                  <a:pt x="322452" y="320773"/>
                </a:cubicBezTo>
                <a:cubicBezTo>
                  <a:pt x="326003" y="321321"/>
                  <a:pt x="334291" y="318164"/>
                  <a:pt x="334116" y="324171"/>
                </a:cubicBezTo>
                <a:close/>
                <a:moveTo>
                  <a:pt x="269811" y="253245"/>
                </a:moveTo>
                <a:cubicBezTo>
                  <a:pt x="271214" y="252283"/>
                  <a:pt x="273100" y="252539"/>
                  <a:pt x="274196" y="253837"/>
                </a:cubicBezTo>
                <a:cubicBezTo>
                  <a:pt x="276783" y="256863"/>
                  <a:pt x="276892" y="261292"/>
                  <a:pt x="274481" y="266992"/>
                </a:cubicBezTo>
                <a:cubicBezTo>
                  <a:pt x="273779" y="268665"/>
                  <a:pt x="271850" y="269452"/>
                  <a:pt x="270183" y="268746"/>
                </a:cubicBezTo>
                <a:cubicBezTo>
                  <a:pt x="269504" y="268468"/>
                  <a:pt x="268956" y="267983"/>
                  <a:pt x="268605" y="267365"/>
                </a:cubicBezTo>
                <a:cubicBezTo>
                  <a:pt x="263694" y="259033"/>
                  <a:pt x="267268" y="254934"/>
                  <a:pt x="269811" y="253245"/>
                </a:cubicBezTo>
                <a:close/>
                <a:moveTo>
                  <a:pt x="478971" y="317945"/>
                </a:moveTo>
                <a:cubicBezTo>
                  <a:pt x="470201" y="344035"/>
                  <a:pt x="451127" y="362759"/>
                  <a:pt x="435539" y="384157"/>
                </a:cubicBezTo>
                <a:cubicBezTo>
                  <a:pt x="407300" y="422707"/>
                  <a:pt x="392523" y="469481"/>
                  <a:pt x="393487" y="517261"/>
                </a:cubicBezTo>
                <a:cubicBezTo>
                  <a:pt x="393750" y="518936"/>
                  <a:pt x="392698" y="520536"/>
                  <a:pt x="391054" y="520966"/>
                </a:cubicBezTo>
                <a:cubicBezTo>
                  <a:pt x="377241" y="524161"/>
                  <a:pt x="363100" y="525634"/>
                  <a:pt x="348937" y="525351"/>
                </a:cubicBezTo>
                <a:cubicBezTo>
                  <a:pt x="345473" y="525351"/>
                  <a:pt x="339641" y="526338"/>
                  <a:pt x="340561" y="520966"/>
                </a:cubicBezTo>
                <a:cubicBezTo>
                  <a:pt x="340145" y="453831"/>
                  <a:pt x="344332" y="386744"/>
                  <a:pt x="353102" y="320181"/>
                </a:cubicBezTo>
                <a:cubicBezTo>
                  <a:pt x="353431" y="315796"/>
                  <a:pt x="359942" y="316695"/>
                  <a:pt x="363056" y="315423"/>
                </a:cubicBezTo>
                <a:cubicBezTo>
                  <a:pt x="374566" y="312310"/>
                  <a:pt x="368669" y="297182"/>
                  <a:pt x="359855" y="297643"/>
                </a:cubicBezTo>
                <a:cubicBezTo>
                  <a:pt x="341175" y="301567"/>
                  <a:pt x="314603" y="306675"/>
                  <a:pt x="295068" y="297029"/>
                </a:cubicBezTo>
                <a:cubicBezTo>
                  <a:pt x="291100" y="295229"/>
                  <a:pt x="287372" y="292953"/>
                  <a:pt x="283952" y="290254"/>
                </a:cubicBezTo>
                <a:cubicBezTo>
                  <a:pt x="282593" y="289206"/>
                  <a:pt x="282286" y="287294"/>
                  <a:pt x="283228" y="285869"/>
                </a:cubicBezTo>
                <a:cubicBezTo>
                  <a:pt x="293402" y="269864"/>
                  <a:pt x="297633" y="254144"/>
                  <a:pt x="294586" y="243818"/>
                </a:cubicBezTo>
                <a:cubicBezTo>
                  <a:pt x="292393" y="235662"/>
                  <a:pt x="283623" y="229698"/>
                  <a:pt x="275029" y="229720"/>
                </a:cubicBezTo>
                <a:cubicBezTo>
                  <a:pt x="265733" y="229720"/>
                  <a:pt x="256590" y="235991"/>
                  <a:pt x="252249" y="245331"/>
                </a:cubicBezTo>
                <a:cubicBezTo>
                  <a:pt x="245672" y="259560"/>
                  <a:pt x="249859" y="276288"/>
                  <a:pt x="256020" y="287206"/>
                </a:cubicBezTo>
                <a:cubicBezTo>
                  <a:pt x="256810" y="288616"/>
                  <a:pt x="256459" y="290392"/>
                  <a:pt x="255187" y="291394"/>
                </a:cubicBezTo>
                <a:cubicBezTo>
                  <a:pt x="250539" y="294950"/>
                  <a:pt x="244817" y="296785"/>
                  <a:pt x="238963" y="296590"/>
                </a:cubicBezTo>
                <a:cubicBezTo>
                  <a:pt x="226707" y="296912"/>
                  <a:pt x="215723" y="289024"/>
                  <a:pt x="212127" y="277297"/>
                </a:cubicBezTo>
                <a:cubicBezTo>
                  <a:pt x="211491" y="273854"/>
                  <a:pt x="208444" y="271397"/>
                  <a:pt x="204936" y="271509"/>
                </a:cubicBezTo>
                <a:cubicBezTo>
                  <a:pt x="201341" y="271592"/>
                  <a:pt x="197986" y="273302"/>
                  <a:pt x="195815" y="276157"/>
                </a:cubicBezTo>
                <a:cubicBezTo>
                  <a:pt x="189764" y="284093"/>
                  <a:pt x="200858" y="298914"/>
                  <a:pt x="207458" y="304351"/>
                </a:cubicBezTo>
                <a:cubicBezTo>
                  <a:pt x="209277" y="305689"/>
                  <a:pt x="208268" y="308364"/>
                  <a:pt x="208860" y="310096"/>
                </a:cubicBezTo>
                <a:cubicBezTo>
                  <a:pt x="224471" y="376768"/>
                  <a:pt x="239270" y="447015"/>
                  <a:pt x="240717" y="515573"/>
                </a:cubicBezTo>
                <a:cubicBezTo>
                  <a:pt x="239993" y="516254"/>
                  <a:pt x="238985" y="516561"/>
                  <a:pt x="237998" y="516406"/>
                </a:cubicBezTo>
                <a:cubicBezTo>
                  <a:pt x="221051" y="513950"/>
                  <a:pt x="203971" y="510881"/>
                  <a:pt x="187243" y="507263"/>
                </a:cubicBezTo>
                <a:cubicBezTo>
                  <a:pt x="185445" y="506853"/>
                  <a:pt x="184327" y="505064"/>
                  <a:pt x="184743" y="503271"/>
                </a:cubicBezTo>
                <a:cubicBezTo>
                  <a:pt x="184743" y="503264"/>
                  <a:pt x="184743" y="503258"/>
                  <a:pt x="184743" y="503251"/>
                </a:cubicBezTo>
                <a:cubicBezTo>
                  <a:pt x="189128" y="453088"/>
                  <a:pt x="172027" y="403538"/>
                  <a:pt x="138351" y="364491"/>
                </a:cubicBezTo>
                <a:cubicBezTo>
                  <a:pt x="121272" y="344758"/>
                  <a:pt x="101847" y="327526"/>
                  <a:pt x="88583" y="304373"/>
                </a:cubicBezTo>
                <a:cubicBezTo>
                  <a:pt x="76480" y="282423"/>
                  <a:pt x="70473" y="257630"/>
                  <a:pt x="71174" y="232571"/>
                </a:cubicBezTo>
                <a:cubicBezTo>
                  <a:pt x="72928" y="120448"/>
                  <a:pt x="178451" y="56078"/>
                  <a:pt x="275073" y="47045"/>
                </a:cubicBezTo>
                <a:cubicBezTo>
                  <a:pt x="428588" y="33145"/>
                  <a:pt x="520649" y="175808"/>
                  <a:pt x="478971" y="317967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CC42F6E1-AA97-48B1-A571-3AA6C5291C16}"/>
              </a:ext>
            </a:extLst>
          </p:cNvPr>
          <p:cNvSpPr/>
          <p:nvPr/>
        </p:nvSpPr>
        <p:spPr>
          <a:xfrm>
            <a:off x="837709" y="598386"/>
            <a:ext cx="1086851" cy="1087014"/>
          </a:xfrm>
          <a:prstGeom prst="ellipse">
            <a:avLst/>
          </a:prstGeom>
          <a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1" name="CustomShape 1"/>
          <p:cNvSpPr/>
          <p:nvPr/>
        </p:nvSpPr>
        <p:spPr>
          <a:xfrm>
            <a:off x="800100" y="1123440"/>
            <a:ext cx="7750140" cy="30066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 algn="just"/>
            <a:r>
              <a:rPr lang="pt-BR" sz="3600" strike="noStrike" spc="-1" dirty="0">
                <a:solidFill>
                  <a:srgbClr val="434343"/>
                </a:solidFill>
                <a:latin typeface="Montserrat"/>
                <a:ea typeface="Montserrat"/>
              </a:rPr>
              <a:t>O volume e a circulação de informação é uma condição, mas </a:t>
            </a:r>
            <a:r>
              <a:rPr lang="pt-BR" sz="3600" strike="noStrike" spc="-1" dirty="0">
                <a:solidFill>
                  <a:srgbClr val="C00000"/>
                </a:solidFill>
                <a:latin typeface="Montserrat"/>
                <a:ea typeface="Montserrat"/>
              </a:rPr>
              <a:t>não uma garantia </a:t>
            </a:r>
            <a:r>
              <a:rPr lang="pt-BR" sz="3600" strike="noStrike" spc="-1" dirty="0">
                <a:solidFill>
                  <a:srgbClr val="434343"/>
                </a:solidFill>
                <a:latin typeface="Montserrat"/>
                <a:ea typeface="Montserrat"/>
              </a:rPr>
              <a:t>da construção de uma sociedade com mais conhecimento e sabedoria</a:t>
            </a:r>
            <a:endParaRPr lang="pt-BR" sz="3600" dirty="0"/>
          </a:p>
          <a:p>
            <a:pPr algn="just">
              <a:lnSpc>
                <a:spcPct val="100000"/>
              </a:lnSpc>
            </a:pPr>
            <a:endParaRPr lang="pt-BR" sz="3600" strike="noStrike" spc="-1" dirty="0">
              <a:latin typeface="Arial"/>
            </a:endParaRPr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E7D14206-4EDD-416F-AC98-99932E693B49}"/>
              </a:ext>
            </a:extLst>
          </p:cNvPr>
          <p:cNvSpPr/>
          <p:nvPr/>
        </p:nvSpPr>
        <p:spPr>
          <a:xfrm>
            <a:off x="7388994" y="3476553"/>
            <a:ext cx="1086851" cy="1087014"/>
          </a:xfrm>
          <a:prstGeom prst="ellipse">
            <a:avLst/>
          </a:prstGeom>
          <a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2" name="TextShape 1"/>
          <p:cNvSpPr txBox="1"/>
          <p:nvPr/>
        </p:nvSpPr>
        <p:spPr>
          <a:xfrm>
            <a:off x="883440" y="683640"/>
            <a:ext cx="6426000" cy="39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4400" b="1" strike="noStrike" spc="-1" dirty="0">
                <a:solidFill>
                  <a:srgbClr val="2B3547"/>
                </a:solidFill>
                <a:latin typeface="Amatic SC"/>
                <a:ea typeface="Amatic SC"/>
              </a:rPr>
              <a:t>Objetivo da Campanha da Fraternidade </a:t>
            </a:r>
            <a:endParaRPr lang="pt-BR" sz="44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3" name="TextShape 2"/>
          <p:cNvSpPr txBox="1"/>
          <p:nvPr/>
        </p:nvSpPr>
        <p:spPr>
          <a:xfrm>
            <a:off x="995580" y="1417380"/>
            <a:ext cx="7304040" cy="2949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 marL="101520" algn="just">
              <a:lnSpc>
                <a:spcPct val="100000"/>
              </a:lnSpc>
            </a:pPr>
            <a:r>
              <a:rPr lang="pt-BR" sz="2200" b="1" strike="noStrike" spc="-1" dirty="0">
                <a:solidFill>
                  <a:srgbClr val="C00000"/>
                </a:solidFill>
                <a:latin typeface="Nino"/>
                <a:ea typeface="Times New Roman"/>
              </a:rPr>
              <a:t>Despertar a solidarie</a:t>
            </a:r>
            <a:r>
              <a:rPr lang="pt-BR" sz="2200" b="1" i="1" strike="noStrike" spc="-1" dirty="0">
                <a:solidFill>
                  <a:srgbClr val="C00000"/>
                </a:solidFill>
                <a:latin typeface="Nino"/>
                <a:ea typeface="Times New Roman"/>
              </a:rPr>
              <a:t>d</a:t>
            </a:r>
            <a:r>
              <a:rPr lang="pt-BR" sz="2200" b="1" strike="noStrike" spc="-1" dirty="0">
                <a:solidFill>
                  <a:srgbClr val="C00000"/>
                </a:solidFill>
                <a:latin typeface="Nino"/>
                <a:ea typeface="Times New Roman"/>
              </a:rPr>
              <a:t>ade nos fiéis </a:t>
            </a:r>
            <a:r>
              <a:rPr lang="pt-BR" sz="2200" b="1" strike="noStrike" spc="-1" dirty="0">
                <a:solidFill>
                  <a:srgbClr val="000000"/>
                </a:solidFill>
                <a:latin typeface="Nino"/>
                <a:ea typeface="Times New Roman"/>
              </a:rPr>
              <a:t>e na sociedade em relação a um </a:t>
            </a:r>
            <a:r>
              <a:rPr lang="pt-BR" sz="2200" b="1" strike="noStrike" spc="-1" dirty="0">
                <a:solidFill>
                  <a:srgbClr val="C00000"/>
                </a:solidFill>
                <a:latin typeface="Nino"/>
                <a:ea typeface="Times New Roman"/>
              </a:rPr>
              <a:t>problema concreto </a:t>
            </a:r>
            <a:r>
              <a:rPr lang="pt-BR" sz="2200" b="1" strike="noStrike" spc="-1" dirty="0">
                <a:solidFill>
                  <a:srgbClr val="000000"/>
                </a:solidFill>
                <a:latin typeface="Nino"/>
                <a:ea typeface="Times New Roman"/>
              </a:rPr>
              <a:t>que envolve a sociedade brasileira, buscando </a:t>
            </a:r>
            <a:r>
              <a:rPr lang="pt-BR" sz="2200" b="1" strike="noStrike" spc="-1" dirty="0">
                <a:solidFill>
                  <a:srgbClr val="C00000"/>
                </a:solidFill>
                <a:latin typeface="Nino"/>
                <a:ea typeface="Times New Roman"/>
              </a:rPr>
              <a:t>caminhos de solução à luz do Evangelho</a:t>
            </a:r>
            <a:r>
              <a:rPr lang="pt-BR" sz="2200" b="1" strike="noStrike" spc="-1" dirty="0">
                <a:solidFill>
                  <a:srgbClr val="000000"/>
                </a:solidFill>
                <a:latin typeface="Nino"/>
                <a:ea typeface="Times New Roman"/>
              </a:rPr>
              <a:t>. Celebrada no período quaresmal a CF nos convida </a:t>
            </a:r>
            <a:r>
              <a:rPr lang="pt-BR" sz="2200" b="1" strike="noStrike" spc="-1" dirty="0">
                <a:solidFill>
                  <a:srgbClr val="000000"/>
                </a:solidFill>
                <a:latin typeface="Nino"/>
                <a:ea typeface="Calibri"/>
              </a:rPr>
              <a:t>a imitar a misericórdia do Pai repartindo o pão com os necessitados, fortificando nosso espírito fraterno. Ela está ligada a caminhada quaresmal como </a:t>
            </a:r>
            <a:r>
              <a:rPr lang="pt-BR" sz="2200" b="1" strike="noStrike" spc="-1" dirty="0">
                <a:solidFill>
                  <a:srgbClr val="C00000"/>
                </a:solidFill>
                <a:latin typeface="Nino"/>
                <a:ea typeface="Calibri"/>
              </a:rPr>
              <a:t>um dos modos de viver </a:t>
            </a:r>
            <a:r>
              <a:rPr lang="pt-BR" sz="2200" b="1" strike="noStrike" spc="-1" dirty="0">
                <a:solidFill>
                  <a:srgbClr val="000000"/>
                </a:solidFill>
                <a:latin typeface="Nino"/>
                <a:ea typeface="Calibri"/>
              </a:rPr>
              <a:t>a espiritualidade deste tempo favorável. </a:t>
            </a:r>
            <a:endParaRPr lang="pt-BR" sz="2200" b="0" strike="noStrike" spc="-1" dirty="0">
              <a:solidFill>
                <a:srgbClr val="000000"/>
              </a:solidFill>
              <a:latin typeface="Arial"/>
            </a:endParaRPr>
          </a:p>
          <a:p>
            <a:pPr marL="101520">
              <a:lnSpc>
                <a:spcPct val="100000"/>
              </a:lnSpc>
            </a:pPr>
            <a:endParaRPr lang="pt-BR" sz="24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4" name="TextShape 3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0D7D7B4E-BDBA-4015-B895-25C1EA70D789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3</a:t>
            </a:fld>
            <a:endParaRPr lang="pt-BR" sz="1500" b="0" strike="noStrike" spc="-1">
              <a:latin typeface="Times New Roman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A39C1CF6-64C4-49B7-A2C3-D2D567F8331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334" t="3408" r="10743" b="56592"/>
          <a:stretch/>
        </p:blipFill>
        <p:spPr>
          <a:xfrm>
            <a:off x="8105087" y="3497580"/>
            <a:ext cx="811586" cy="113538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2" name="CustomShape 1"/>
          <p:cNvSpPr/>
          <p:nvPr/>
        </p:nvSpPr>
        <p:spPr>
          <a:xfrm>
            <a:off x="830580" y="797940"/>
            <a:ext cx="7231380" cy="3675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 algn="just">
              <a:lnSpc>
                <a:spcPct val="100000"/>
              </a:lnSpc>
            </a:pPr>
            <a:r>
              <a:rPr lang="pt-BR" sz="3600" strike="noStrike" spc="-1" dirty="0">
                <a:solidFill>
                  <a:srgbClr val="434343"/>
                </a:solidFill>
                <a:latin typeface="Montserrat"/>
                <a:ea typeface="Montserrat"/>
              </a:rPr>
              <a:t>O conhecimento ajuda mas não garante uma postura de sabedoria diante da vida. </a:t>
            </a:r>
            <a:r>
              <a:rPr lang="pt-BR" sz="3600" strike="noStrike" spc="-1" dirty="0">
                <a:solidFill>
                  <a:srgbClr val="C00000"/>
                </a:solidFill>
                <a:latin typeface="Montserrat"/>
                <a:ea typeface="Montserrat"/>
              </a:rPr>
              <a:t>Conhecimento e sabedoria </a:t>
            </a:r>
            <a:r>
              <a:rPr lang="pt-BR" sz="3600" strike="noStrike" spc="-1" dirty="0">
                <a:solidFill>
                  <a:srgbClr val="434343"/>
                </a:solidFill>
                <a:latin typeface="Montserrat"/>
                <a:ea typeface="Montserrat"/>
              </a:rPr>
              <a:t>não são o resultado de um acúmulo de informações</a:t>
            </a:r>
            <a:endParaRPr lang="pt-BR" sz="3600" strike="noStrike" spc="-1" dirty="0">
              <a:latin typeface="Arial"/>
            </a:endParaRPr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87E11C57-6C79-4FBB-A087-73B12F51E897}"/>
              </a:ext>
            </a:extLst>
          </p:cNvPr>
          <p:cNvSpPr/>
          <p:nvPr/>
        </p:nvSpPr>
        <p:spPr>
          <a:xfrm>
            <a:off x="7434714" y="3445563"/>
            <a:ext cx="1086851" cy="1087014"/>
          </a:xfrm>
          <a:prstGeom prst="ellipse">
            <a:avLst/>
          </a:prstGeom>
          <a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5" name="TextShape 1"/>
          <p:cNvSpPr txBox="1"/>
          <p:nvPr/>
        </p:nvSpPr>
        <p:spPr>
          <a:xfrm>
            <a:off x="883440" y="683640"/>
            <a:ext cx="6426000" cy="39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3400" b="1" strike="noStrike" spc="-1">
                <a:solidFill>
                  <a:srgbClr val="2B3547"/>
                </a:solidFill>
                <a:latin typeface="Amatic SC"/>
                <a:ea typeface="Amatic SC"/>
              </a:rPr>
              <a:t>Texto Base N 56</a:t>
            </a:r>
            <a:endParaRPr lang="pt-BR" sz="3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6" name="TextShape 2"/>
          <p:cNvSpPr txBox="1"/>
          <p:nvPr/>
        </p:nvSpPr>
        <p:spPr>
          <a:xfrm>
            <a:off x="1081320" y="1399860"/>
            <a:ext cx="6426000" cy="3060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 marL="88920" algn="just">
              <a:lnSpc>
                <a:spcPct val="100000"/>
              </a:lnSpc>
            </a:pPr>
            <a:r>
              <a:rPr lang="pt-BR" sz="28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“O ato educativo pressupõe ações amplas e complexas que demandam um reconhecimento do lugar que a pessoa ocupa na sociedade em que está inserida, tornando-se um agente que contribua com o desenvolvimento de uma nova </a:t>
            </a:r>
            <a:r>
              <a:rPr lang="pt-BR" sz="28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cultura do acolhimento.”</a:t>
            </a:r>
            <a:endParaRPr lang="pt-BR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7" name="TextShape 3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C42864A9-E46E-413E-9D9E-56ABD7F26759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31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718" name="CustomShape 4"/>
          <p:cNvSpPr/>
          <p:nvPr/>
        </p:nvSpPr>
        <p:spPr>
          <a:xfrm>
            <a:off x="7648560" y="3814920"/>
            <a:ext cx="937080" cy="835200"/>
          </a:xfrm>
          <a:custGeom>
            <a:avLst/>
            <a:gdLst/>
            <a:ahLst/>
            <a:cxnLst/>
            <a:rect l="l" t="t" r="r" b="b"/>
            <a:pathLst>
              <a:path w="444359" h="395938">
                <a:moveTo>
                  <a:pt x="135136" y="205311"/>
                </a:moveTo>
                <a:lnTo>
                  <a:pt x="101482" y="200356"/>
                </a:lnTo>
                <a:cubicBezTo>
                  <a:pt x="92405" y="199041"/>
                  <a:pt x="88788" y="213642"/>
                  <a:pt x="98347" y="215046"/>
                </a:cubicBezTo>
                <a:lnTo>
                  <a:pt x="132067" y="220001"/>
                </a:lnTo>
                <a:cubicBezTo>
                  <a:pt x="141056" y="221316"/>
                  <a:pt x="144673" y="206714"/>
                  <a:pt x="135136" y="205311"/>
                </a:cubicBezTo>
                <a:close/>
                <a:moveTo>
                  <a:pt x="293388" y="291650"/>
                </a:moveTo>
                <a:cubicBezTo>
                  <a:pt x="292554" y="295482"/>
                  <a:pt x="294966" y="299271"/>
                  <a:pt x="298803" y="300115"/>
                </a:cubicBezTo>
                <a:cubicBezTo>
                  <a:pt x="298869" y="300130"/>
                  <a:pt x="298935" y="300144"/>
                  <a:pt x="299001" y="300157"/>
                </a:cubicBezTo>
                <a:cubicBezTo>
                  <a:pt x="299373" y="300157"/>
                  <a:pt x="300711" y="300157"/>
                  <a:pt x="300930" y="300551"/>
                </a:cubicBezTo>
                <a:cubicBezTo>
                  <a:pt x="299921" y="300222"/>
                  <a:pt x="299790" y="300201"/>
                  <a:pt x="300535" y="300551"/>
                </a:cubicBezTo>
                <a:cubicBezTo>
                  <a:pt x="301280" y="300902"/>
                  <a:pt x="301456" y="300924"/>
                  <a:pt x="302267" y="301297"/>
                </a:cubicBezTo>
                <a:lnTo>
                  <a:pt x="302377" y="301297"/>
                </a:lnTo>
                <a:cubicBezTo>
                  <a:pt x="309919" y="308335"/>
                  <a:pt x="320267" y="297416"/>
                  <a:pt x="313142" y="290335"/>
                </a:cubicBezTo>
                <a:cubicBezTo>
                  <a:pt x="307573" y="285621"/>
                  <a:pt x="295756" y="281894"/>
                  <a:pt x="293388" y="291650"/>
                </a:cubicBezTo>
                <a:close/>
                <a:moveTo>
                  <a:pt x="285999" y="274110"/>
                </a:moveTo>
                <a:cubicBezTo>
                  <a:pt x="269973" y="263589"/>
                  <a:pt x="253310" y="254069"/>
                  <a:pt x="236099" y="245608"/>
                </a:cubicBezTo>
                <a:cubicBezTo>
                  <a:pt x="227833" y="241530"/>
                  <a:pt x="220752" y="255014"/>
                  <a:pt x="229346" y="259180"/>
                </a:cubicBezTo>
                <a:cubicBezTo>
                  <a:pt x="245439" y="267053"/>
                  <a:pt x="261027" y="275919"/>
                  <a:pt x="276002" y="285730"/>
                </a:cubicBezTo>
                <a:cubicBezTo>
                  <a:pt x="283697" y="290576"/>
                  <a:pt x="293738" y="279109"/>
                  <a:pt x="285999" y="274023"/>
                </a:cubicBezTo>
                <a:close/>
                <a:moveTo>
                  <a:pt x="433354" y="1544"/>
                </a:moveTo>
                <a:cubicBezTo>
                  <a:pt x="431162" y="3057"/>
                  <a:pt x="428970" y="4482"/>
                  <a:pt x="426908" y="5929"/>
                </a:cubicBezTo>
                <a:cubicBezTo>
                  <a:pt x="425220" y="5833"/>
                  <a:pt x="423554" y="6381"/>
                  <a:pt x="422239" y="7464"/>
                </a:cubicBezTo>
                <a:cubicBezTo>
                  <a:pt x="417854" y="10840"/>
                  <a:pt x="413469" y="14261"/>
                  <a:pt x="408952" y="17659"/>
                </a:cubicBezTo>
                <a:cubicBezTo>
                  <a:pt x="315904" y="75803"/>
                  <a:pt x="209197" y="106563"/>
                  <a:pt x="111195" y="154928"/>
                </a:cubicBezTo>
                <a:cubicBezTo>
                  <a:pt x="93853" y="163501"/>
                  <a:pt x="76773" y="172622"/>
                  <a:pt x="60089" y="182400"/>
                </a:cubicBezTo>
                <a:cubicBezTo>
                  <a:pt x="42549" y="192748"/>
                  <a:pt x="25141" y="203184"/>
                  <a:pt x="5146" y="208249"/>
                </a:cubicBezTo>
                <a:cubicBezTo>
                  <a:pt x="-1804" y="210003"/>
                  <a:pt x="-1147" y="218532"/>
                  <a:pt x="3743" y="221404"/>
                </a:cubicBezTo>
                <a:cubicBezTo>
                  <a:pt x="4707" y="222430"/>
                  <a:pt x="5979" y="223140"/>
                  <a:pt x="7360" y="223443"/>
                </a:cubicBezTo>
                <a:cubicBezTo>
                  <a:pt x="52371" y="234230"/>
                  <a:pt x="97777" y="242999"/>
                  <a:pt x="143621" y="249752"/>
                </a:cubicBezTo>
                <a:lnTo>
                  <a:pt x="143117" y="384961"/>
                </a:lnTo>
                <a:cubicBezTo>
                  <a:pt x="142854" y="387829"/>
                  <a:pt x="144717" y="390464"/>
                  <a:pt x="147502" y="391166"/>
                </a:cubicBezTo>
                <a:cubicBezTo>
                  <a:pt x="148620" y="393251"/>
                  <a:pt x="150615" y="394717"/>
                  <a:pt x="152939" y="395156"/>
                </a:cubicBezTo>
                <a:cubicBezTo>
                  <a:pt x="155855" y="396721"/>
                  <a:pt x="159473" y="395875"/>
                  <a:pt x="161402" y="393183"/>
                </a:cubicBezTo>
                <a:cubicBezTo>
                  <a:pt x="187777" y="361278"/>
                  <a:pt x="215797" y="330777"/>
                  <a:pt x="245351" y="301801"/>
                </a:cubicBezTo>
                <a:cubicBezTo>
                  <a:pt x="266464" y="313914"/>
                  <a:pt x="286394" y="328001"/>
                  <a:pt x="304854" y="343874"/>
                </a:cubicBezTo>
                <a:cubicBezTo>
                  <a:pt x="316496" y="353850"/>
                  <a:pt x="331712" y="356854"/>
                  <a:pt x="343266" y="366413"/>
                </a:cubicBezTo>
                <a:cubicBezTo>
                  <a:pt x="346533" y="371170"/>
                  <a:pt x="355500" y="370798"/>
                  <a:pt x="356553" y="363519"/>
                </a:cubicBezTo>
                <a:cubicBezTo>
                  <a:pt x="373083" y="243175"/>
                  <a:pt x="405510" y="125528"/>
                  <a:pt x="443593" y="10753"/>
                </a:cubicBezTo>
                <a:cubicBezTo>
                  <a:pt x="446618" y="4679"/>
                  <a:pt x="440173" y="-3323"/>
                  <a:pt x="433354" y="1457"/>
                </a:cubicBezTo>
                <a:close/>
                <a:moveTo>
                  <a:pt x="144959" y="232695"/>
                </a:moveTo>
                <a:cubicBezTo>
                  <a:pt x="144345" y="233234"/>
                  <a:pt x="143819" y="233863"/>
                  <a:pt x="143380" y="234558"/>
                </a:cubicBezTo>
                <a:cubicBezTo>
                  <a:pt x="106218" y="229033"/>
                  <a:pt x="69319" y="222164"/>
                  <a:pt x="32639" y="213949"/>
                </a:cubicBezTo>
                <a:cubicBezTo>
                  <a:pt x="52744" y="204895"/>
                  <a:pt x="71358" y="192134"/>
                  <a:pt x="90652" y="181720"/>
                </a:cubicBezTo>
                <a:cubicBezTo>
                  <a:pt x="170610" y="138682"/>
                  <a:pt x="257497" y="110816"/>
                  <a:pt x="339320" y="71856"/>
                </a:cubicBezTo>
                <a:cubicBezTo>
                  <a:pt x="273370" y="123978"/>
                  <a:pt x="208584" y="177592"/>
                  <a:pt x="144959" y="232695"/>
                </a:cubicBezTo>
                <a:close/>
                <a:moveTo>
                  <a:pt x="157938" y="358827"/>
                </a:moveTo>
                <a:lnTo>
                  <a:pt x="158376" y="242429"/>
                </a:lnTo>
                <a:cubicBezTo>
                  <a:pt x="158376" y="241688"/>
                  <a:pt x="158267" y="240949"/>
                  <a:pt x="158070" y="240237"/>
                </a:cubicBezTo>
                <a:cubicBezTo>
                  <a:pt x="232788" y="175691"/>
                  <a:pt x="309152" y="113147"/>
                  <a:pt x="387181" y="52607"/>
                </a:cubicBezTo>
                <a:lnTo>
                  <a:pt x="297159" y="137213"/>
                </a:lnTo>
                <a:cubicBezTo>
                  <a:pt x="259098" y="172972"/>
                  <a:pt x="217024" y="207372"/>
                  <a:pt x="189531" y="252405"/>
                </a:cubicBezTo>
                <a:cubicBezTo>
                  <a:pt x="188216" y="254240"/>
                  <a:pt x="188018" y="256658"/>
                  <a:pt x="189049" y="258675"/>
                </a:cubicBezTo>
                <a:cubicBezTo>
                  <a:pt x="189356" y="259691"/>
                  <a:pt x="189882" y="260620"/>
                  <a:pt x="190605" y="261394"/>
                </a:cubicBezTo>
                <a:cubicBezTo>
                  <a:pt x="181222" y="294369"/>
                  <a:pt x="170325" y="326817"/>
                  <a:pt x="157938" y="358739"/>
                </a:cubicBezTo>
                <a:close/>
                <a:moveTo>
                  <a:pt x="174535" y="355801"/>
                </a:moveTo>
                <a:cubicBezTo>
                  <a:pt x="184927" y="328323"/>
                  <a:pt x="194267" y="300479"/>
                  <a:pt x="202533" y="272269"/>
                </a:cubicBezTo>
                <a:cubicBezTo>
                  <a:pt x="212223" y="280124"/>
                  <a:pt x="222396" y="287379"/>
                  <a:pt x="232964" y="293996"/>
                </a:cubicBezTo>
                <a:cubicBezTo>
                  <a:pt x="212749" y="313844"/>
                  <a:pt x="193281" y="334418"/>
                  <a:pt x="174535" y="355713"/>
                </a:cubicBezTo>
                <a:close/>
                <a:moveTo>
                  <a:pt x="344143" y="348807"/>
                </a:moveTo>
                <a:cubicBezTo>
                  <a:pt x="334847" y="343743"/>
                  <a:pt x="324608" y="340432"/>
                  <a:pt x="316255" y="333460"/>
                </a:cubicBezTo>
                <a:cubicBezTo>
                  <a:pt x="304394" y="323193"/>
                  <a:pt x="291962" y="313631"/>
                  <a:pt x="278983" y="304827"/>
                </a:cubicBezTo>
                <a:cubicBezTo>
                  <a:pt x="253946" y="288581"/>
                  <a:pt x="227351" y="274637"/>
                  <a:pt x="205273" y="254400"/>
                </a:cubicBezTo>
                <a:cubicBezTo>
                  <a:pt x="232701" y="211538"/>
                  <a:pt x="274533" y="178125"/>
                  <a:pt x="311212" y="143637"/>
                </a:cubicBezTo>
                <a:cubicBezTo>
                  <a:pt x="346993" y="110020"/>
                  <a:pt x="382796" y="76401"/>
                  <a:pt x="418643" y="42784"/>
                </a:cubicBezTo>
                <a:cubicBezTo>
                  <a:pt x="385098" y="142442"/>
                  <a:pt x="360170" y="244797"/>
                  <a:pt x="344143" y="348720"/>
                </a:cubicBezTo>
                <a:close/>
                <a:moveTo>
                  <a:pt x="55923" y="163172"/>
                </a:moveTo>
                <a:cubicBezTo>
                  <a:pt x="76620" y="147430"/>
                  <a:pt x="101087" y="137608"/>
                  <a:pt x="124481" y="126668"/>
                </a:cubicBezTo>
                <a:lnTo>
                  <a:pt x="197797" y="92378"/>
                </a:lnTo>
                <a:cubicBezTo>
                  <a:pt x="206238" y="88431"/>
                  <a:pt x="202379" y="74268"/>
                  <a:pt x="193412" y="78434"/>
                </a:cubicBezTo>
                <a:lnTo>
                  <a:pt x="116237" y="114478"/>
                </a:lnTo>
                <a:cubicBezTo>
                  <a:pt x="92954" y="125440"/>
                  <a:pt x="68661" y="135306"/>
                  <a:pt x="48052" y="150960"/>
                </a:cubicBezTo>
                <a:cubicBezTo>
                  <a:pt x="40532" y="156704"/>
                  <a:pt x="48096" y="169114"/>
                  <a:pt x="55923" y="163084"/>
                </a:cubicBezTo>
                <a:close/>
                <a:moveTo>
                  <a:pt x="41760" y="133684"/>
                </a:moveTo>
                <a:cubicBezTo>
                  <a:pt x="60198" y="122794"/>
                  <a:pt x="79119" y="112805"/>
                  <a:pt x="98479" y="103713"/>
                </a:cubicBezTo>
                <a:cubicBezTo>
                  <a:pt x="106919" y="99766"/>
                  <a:pt x="103061" y="85603"/>
                  <a:pt x="94094" y="89791"/>
                </a:cubicBezTo>
                <a:cubicBezTo>
                  <a:pt x="73528" y="99409"/>
                  <a:pt x="53467" y="109990"/>
                  <a:pt x="33889" y="121537"/>
                </a:cubicBezTo>
                <a:cubicBezTo>
                  <a:pt x="25689" y="126339"/>
                  <a:pt x="33341" y="138573"/>
                  <a:pt x="41760" y="133596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1AE4E54D-373F-4787-AC01-DB450F1B70DB}"/>
              </a:ext>
            </a:extLst>
          </p:cNvPr>
          <p:cNvSpPr/>
          <p:nvPr/>
        </p:nvSpPr>
        <p:spPr>
          <a:xfrm>
            <a:off x="7975734" y="3468423"/>
            <a:ext cx="1086851" cy="1087014"/>
          </a:xfrm>
          <a:prstGeom prst="ellipse">
            <a:avLst/>
          </a:prstGeom>
          <a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" name="TextShape 1"/>
          <p:cNvSpPr txBox="1"/>
          <p:nvPr/>
        </p:nvSpPr>
        <p:spPr>
          <a:xfrm>
            <a:off x="898680" y="563880"/>
            <a:ext cx="1501620" cy="5157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3000" b="1" strike="noStrike" spc="-1" dirty="0">
                <a:solidFill>
                  <a:srgbClr val="2B3547"/>
                </a:solidFill>
                <a:latin typeface="Amatic SC"/>
                <a:ea typeface="Amatic SC"/>
              </a:rPr>
              <a:t>T.B - 57 </a:t>
            </a:r>
            <a:endParaRPr lang="pt-BR" sz="30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0" name="TextShape 2"/>
          <p:cNvSpPr txBox="1"/>
          <p:nvPr/>
        </p:nvSpPr>
        <p:spPr>
          <a:xfrm>
            <a:off x="840300" y="1315500"/>
            <a:ext cx="7187400" cy="303876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 lIns="0" tIns="0" rIns="0" bIns="0">
            <a:noAutofit/>
          </a:bodyPr>
          <a:lstStyle/>
          <a:p>
            <a:pPr marL="88920" algn="just">
              <a:lnSpc>
                <a:spcPct val="100000"/>
              </a:lnSpc>
            </a:pPr>
            <a:r>
              <a:rPr lang="pt-BR" sz="28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“É preciso educar para viver em comunhão. Educar para conceber a democracia como um estado de participação. Educar como ação esperançosa na </a:t>
            </a:r>
            <a:r>
              <a:rPr lang="pt-BR" sz="28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capacidade de aprender do humano e de estabelecer relações mais fraternas </a:t>
            </a:r>
            <a:r>
              <a:rPr lang="pt-BR" sz="28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em sociedade e com a natureza.”</a:t>
            </a:r>
            <a:endParaRPr lang="pt-BR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1" name="TextShape 3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69623C59-EAB9-4B12-8D9A-607D48CBDF44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32</a:t>
            </a:fld>
            <a:endParaRPr lang="pt-BR" sz="1500" b="1" strike="noStrike" spc="-1" dirty="0">
              <a:latin typeface="Times New Roman"/>
            </a:endParaRP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17253C8E-5030-4EE7-8A4B-284091E1E953}"/>
              </a:ext>
            </a:extLst>
          </p:cNvPr>
          <p:cNvSpPr/>
          <p:nvPr/>
        </p:nvSpPr>
        <p:spPr>
          <a:xfrm>
            <a:off x="7974360" y="3487866"/>
            <a:ext cx="1086851" cy="1087014"/>
          </a:xfrm>
          <a:prstGeom prst="ellipse">
            <a:avLst/>
          </a:prstGeom>
          <a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5" name="TextShape 1"/>
          <p:cNvSpPr txBox="1"/>
          <p:nvPr/>
        </p:nvSpPr>
        <p:spPr>
          <a:xfrm>
            <a:off x="584640" y="1786320"/>
            <a:ext cx="4146480" cy="14169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4500" b="1" strike="noStrike" spc="-1">
                <a:solidFill>
                  <a:srgbClr val="AEE25A"/>
                </a:solidFill>
                <a:latin typeface="Amatic SC"/>
                <a:ea typeface="Amatic SC"/>
              </a:rPr>
              <a:t>“Os pais são os primeiros, mas não os únicos, educadores dos seus filhos (…)</a:t>
            </a:r>
            <a:br/>
            <a:r>
              <a:rPr lang="pt-BR" sz="4500" b="1" strike="noStrike" spc="-1">
                <a:solidFill>
                  <a:srgbClr val="AEE25A"/>
                </a:solidFill>
                <a:latin typeface="Amatic SC"/>
                <a:ea typeface="Amatic SC"/>
              </a:rPr>
              <a:t>Educar para a vida em sociedade”</a:t>
            </a:r>
            <a:br/>
            <a:r>
              <a:rPr lang="pt-BR" sz="1800" b="1" strike="noStrike" spc="-1">
                <a:solidFill>
                  <a:srgbClr val="AEE25A"/>
                </a:solidFill>
                <a:latin typeface="Amatic SC"/>
                <a:ea typeface="Amatic SC"/>
              </a:rPr>
              <a:t>(TB 60)</a:t>
            </a:r>
            <a:endParaRPr lang="pt-BR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6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426ED366-129E-4877-B857-68E76B057484}" type="slidenum">
              <a:rPr lang="pt-BR" sz="1500" b="1" strike="noStrike" spc="-1">
                <a:solidFill>
                  <a:srgbClr val="EDF0EB"/>
                </a:solidFill>
                <a:latin typeface="Amatic SC"/>
                <a:ea typeface="Amatic SC"/>
              </a:rPr>
              <a:t>33</a:t>
            </a:fld>
            <a:endParaRPr lang="pt-BR" sz="1500" b="0" strike="noStrike" spc="-1">
              <a:latin typeface="Times New Roman"/>
            </a:endParaRPr>
          </a:p>
        </p:txBody>
      </p:sp>
      <p:pic>
        <p:nvPicPr>
          <p:cNvPr id="727" name="Picture 2" descr="Os primeiros e mais importantes educadores de uma criança são os pais, não  os professores” – Pais&amp;amp;Filhos"/>
          <p:cNvPicPr/>
          <p:nvPr/>
        </p:nvPicPr>
        <p:blipFill>
          <a:blip r:embed="rId2"/>
          <a:stretch/>
        </p:blipFill>
        <p:spPr>
          <a:xfrm>
            <a:off x="4903560" y="1238760"/>
            <a:ext cx="3500280" cy="2333520"/>
          </a:xfrm>
          <a:prstGeom prst="rect">
            <a:avLst/>
          </a:prstGeom>
          <a:ln>
            <a:noFill/>
          </a:ln>
        </p:spPr>
      </p:pic>
      <p:sp>
        <p:nvSpPr>
          <p:cNvPr id="5" name="Elipse 4">
            <a:extLst>
              <a:ext uri="{FF2B5EF4-FFF2-40B4-BE49-F238E27FC236}">
                <a16:creationId xmlns:a16="http://schemas.microsoft.com/office/drawing/2014/main" id="{092BE750-86B0-4AD4-809C-DEFED5E42DB6}"/>
              </a:ext>
            </a:extLst>
          </p:cNvPr>
          <p:cNvSpPr/>
          <p:nvPr/>
        </p:nvSpPr>
        <p:spPr>
          <a:xfrm>
            <a:off x="7578474" y="3723361"/>
            <a:ext cx="825366" cy="818877"/>
          </a:xfrm>
          <a:prstGeom prst="ellipse">
            <a:avLst/>
          </a:prstGeom>
          <a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8" name="TextShape 1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F2AC157A-9E06-43EF-92A5-399471032B4E}" type="slidenum">
              <a:rPr lang="pt-BR" sz="1500" b="1" strike="noStrike" spc="-1">
                <a:solidFill>
                  <a:srgbClr val="EDF0EB"/>
                </a:solidFill>
                <a:latin typeface="Amatic SC"/>
                <a:ea typeface="Amatic SC"/>
              </a:rPr>
              <a:t>34</a:t>
            </a:fld>
            <a:endParaRPr lang="pt-BR" sz="1500" b="0" strike="noStrike" spc="-1">
              <a:latin typeface="Times New Roman"/>
            </a:endParaRPr>
          </a:p>
        </p:txBody>
      </p:sp>
      <p:pic>
        <p:nvPicPr>
          <p:cNvPr id="729" name="Picture 4" descr="Uso excessivo de telas como celular e TV aumenta riscos de compulsão  alimentar, diz estudo - Saúde e Ciência - Extra Online"/>
          <p:cNvPicPr/>
          <p:nvPr/>
        </p:nvPicPr>
        <p:blipFill>
          <a:blip r:embed="rId2"/>
          <a:stretch/>
        </p:blipFill>
        <p:spPr>
          <a:xfrm>
            <a:off x="822960" y="605880"/>
            <a:ext cx="3320280" cy="1870920"/>
          </a:xfrm>
          <a:prstGeom prst="rect">
            <a:avLst/>
          </a:prstGeom>
          <a:ln>
            <a:noFill/>
          </a:ln>
        </p:spPr>
      </p:pic>
      <p:pic>
        <p:nvPicPr>
          <p:cNvPr id="730" name="Picture 6"/>
          <p:cNvPicPr/>
          <p:nvPr/>
        </p:nvPicPr>
        <p:blipFill>
          <a:blip r:embed="rId3"/>
          <a:stretch/>
        </p:blipFill>
        <p:spPr>
          <a:xfrm>
            <a:off x="5185080" y="2275200"/>
            <a:ext cx="3053520" cy="2101680"/>
          </a:xfrm>
          <a:prstGeom prst="rect">
            <a:avLst/>
          </a:prstGeom>
          <a:ln>
            <a:noFill/>
          </a:ln>
        </p:spPr>
      </p:pic>
      <p:sp>
        <p:nvSpPr>
          <p:cNvPr id="731" name="CustomShape 2"/>
          <p:cNvSpPr/>
          <p:nvPr/>
        </p:nvSpPr>
        <p:spPr>
          <a:xfrm>
            <a:off x="1103760" y="3230640"/>
            <a:ext cx="3212640" cy="3960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pt-BR" sz="2000" b="0" strike="noStrike" spc="-1">
                <a:solidFill>
                  <a:srgbClr val="92E373"/>
                </a:solidFill>
                <a:latin typeface="Arial"/>
                <a:ea typeface="Arial"/>
              </a:rPr>
              <a:t>Influências … TB 64, 65, 66</a:t>
            </a:r>
            <a:endParaRPr lang="pt-BR" sz="2000" b="0" strike="noStrike" spc="-1">
              <a:latin typeface="Arial"/>
            </a:endParaRPr>
          </a:p>
        </p:txBody>
      </p:sp>
      <p:pic>
        <p:nvPicPr>
          <p:cNvPr id="732" name="Picture 2" descr="A LDB e Educação a Distância | YOU Bilíngue"/>
          <p:cNvPicPr/>
          <p:nvPr/>
        </p:nvPicPr>
        <p:blipFill>
          <a:blip r:embed="rId4"/>
          <a:stretch/>
        </p:blipFill>
        <p:spPr>
          <a:xfrm>
            <a:off x="574200" y="-8640"/>
            <a:ext cx="7980480" cy="5151600"/>
          </a:xfrm>
          <a:prstGeom prst="rect">
            <a:avLst/>
          </a:prstGeom>
          <a:ln>
            <a:noFill/>
          </a:ln>
        </p:spPr>
      </p:pic>
      <p:sp>
        <p:nvSpPr>
          <p:cNvPr id="7" name="Elipse 6">
            <a:extLst>
              <a:ext uri="{FF2B5EF4-FFF2-40B4-BE49-F238E27FC236}">
                <a16:creationId xmlns:a16="http://schemas.microsoft.com/office/drawing/2014/main" id="{A8A3A778-63F0-4C67-ACB6-F1A157939A9E}"/>
              </a:ext>
            </a:extLst>
          </p:cNvPr>
          <p:cNvSpPr/>
          <p:nvPr/>
        </p:nvSpPr>
        <p:spPr>
          <a:xfrm>
            <a:off x="3046467" y="4280400"/>
            <a:ext cx="548280" cy="514440"/>
          </a:xfrm>
          <a:prstGeom prst="ellipse">
            <a:avLst/>
          </a:prstGeom>
          <a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7" dur="500" fill="hold"/>
                                        <p:tgtEl>
                                          <p:spTgt spid="7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8" dur="500" fill="hold"/>
                                        <p:tgtEl>
                                          <p:spTgt spid="7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0" name="TextShape 1"/>
          <p:cNvSpPr txBox="1"/>
          <p:nvPr/>
        </p:nvSpPr>
        <p:spPr>
          <a:xfrm>
            <a:off x="883440" y="683640"/>
            <a:ext cx="6426000" cy="39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4400" b="1" strike="noStrike" spc="-1">
                <a:solidFill>
                  <a:srgbClr val="2B3547"/>
                </a:solidFill>
                <a:latin typeface="Amatic SC"/>
                <a:ea typeface="Amatic SC"/>
              </a:rPr>
              <a:t>Texto Base </a:t>
            </a:r>
            <a:r>
              <a:rPr lang="pt-BR" sz="3400" b="1" strike="noStrike" spc="-1">
                <a:solidFill>
                  <a:srgbClr val="2B3547"/>
                </a:solidFill>
                <a:latin typeface="Amatic SC"/>
                <a:ea typeface="Amatic SC"/>
              </a:rPr>
              <a:t>N 76</a:t>
            </a:r>
            <a:endParaRPr lang="pt-BR" sz="3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2" name="TextShape 3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943A29E8-7732-4AE2-B2E4-FC222FF5202F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35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B5B0EBCB-178E-4E38-8D6E-8729639B1D03}"/>
              </a:ext>
            </a:extLst>
          </p:cNvPr>
          <p:cNvSpPr/>
          <p:nvPr/>
        </p:nvSpPr>
        <p:spPr>
          <a:xfrm>
            <a:off x="8180782" y="3756881"/>
            <a:ext cx="612436" cy="613597"/>
          </a:xfrm>
          <a:prstGeom prst="ellipse">
            <a:avLst/>
          </a:prstGeom>
          <a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  <a:ln>
            <a:solidFill>
              <a:srgbClr val="7030A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7FCBA843-7F97-4FD2-81C7-24B322D502E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07722" y="1498790"/>
            <a:ext cx="7728555" cy="2321215"/>
          </a:xfrm>
          <a:prstGeom prst="rect">
            <a:avLst/>
          </a:prstGeom>
          <a:solidFill>
            <a:schemeClr val="accent1">
              <a:lumMod val="40000"/>
              <a:lumOff val="60000"/>
              <a:alpha val="44000"/>
            </a:scheme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lvl="0"/>
            <a:endParaRPr lang="pt-BR" sz="1400"/>
          </a:p>
        </p:txBody>
      </p:sp>
      <p:sp>
        <p:nvSpPr>
          <p:cNvPr id="741" name="TextShape 2"/>
          <p:cNvSpPr txBox="1"/>
          <p:nvPr/>
        </p:nvSpPr>
        <p:spPr>
          <a:xfrm>
            <a:off x="675645" y="1693338"/>
            <a:ext cx="4014420" cy="21376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 marL="101520" algn="just">
              <a:lnSpc>
                <a:spcPct val="100000"/>
              </a:lnSpc>
            </a:pPr>
            <a:r>
              <a:rPr lang="pt-BR" sz="24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Dos 2.212.018 docentes, 1.761.999 são mulheres, resultando em 80% do grupo de docentes que atuam na Educação Básica</a:t>
            </a:r>
            <a:r>
              <a:rPr lang="pt-BR" sz="2400" b="0" strike="noStrike" spc="-1" dirty="0">
                <a:solidFill>
                  <a:srgbClr val="2B3547"/>
                </a:solidFill>
                <a:latin typeface="Nunito"/>
                <a:ea typeface="Nunito"/>
              </a:rPr>
              <a:t>. </a:t>
            </a:r>
            <a:endParaRPr lang="pt-BR" sz="24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743" name="Picture 4" descr="Educação Básica: 21,6% dos professores não possuem superior completo"/>
          <p:cNvPicPr/>
          <p:nvPr/>
        </p:nvPicPr>
        <p:blipFill>
          <a:blip r:embed="rId4"/>
          <a:stretch/>
        </p:blipFill>
        <p:spPr>
          <a:xfrm>
            <a:off x="4806044" y="1693338"/>
            <a:ext cx="3435120" cy="193212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" name="TextShape 1"/>
          <p:cNvSpPr txBox="1"/>
          <p:nvPr/>
        </p:nvSpPr>
        <p:spPr>
          <a:xfrm>
            <a:off x="397080" y="1722600"/>
            <a:ext cx="4146480" cy="14169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4500" b="1" strike="noStrike" spc="-1">
                <a:solidFill>
                  <a:srgbClr val="AEE25A"/>
                </a:solidFill>
                <a:latin typeface="Amatic SC"/>
                <a:ea typeface="Amatic SC"/>
              </a:rPr>
              <a:t>“Professores e gestores em sua missão de educar”</a:t>
            </a:r>
            <a:br/>
            <a:r>
              <a:rPr lang="pt-BR" sz="1800" b="1" strike="noStrike" spc="-1">
                <a:solidFill>
                  <a:srgbClr val="AEE25A"/>
                </a:solidFill>
                <a:latin typeface="Amatic SC"/>
                <a:ea typeface="Amatic SC"/>
              </a:rPr>
              <a:t>(TB 111)</a:t>
            </a:r>
            <a:endParaRPr lang="pt-BR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4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9489D7FA-A9B6-4A0F-B1C1-0C71D0C97ACD}" type="slidenum">
              <a:rPr lang="pt-BR" sz="1500" b="1" strike="noStrike" spc="-1">
                <a:solidFill>
                  <a:srgbClr val="EDF0EB"/>
                </a:solidFill>
                <a:latin typeface="Amatic SC"/>
                <a:ea typeface="Amatic SC"/>
              </a:rPr>
              <a:t>36</a:t>
            </a:fld>
            <a:endParaRPr lang="pt-BR" sz="1500" b="0" strike="noStrike" spc="-1">
              <a:latin typeface="Times New Roman"/>
            </a:endParaRPr>
          </a:p>
        </p:txBody>
      </p:sp>
      <p:pic>
        <p:nvPicPr>
          <p:cNvPr id="755" name="Picture 2" descr="Papel dos professores na educação: entenda a importância!"/>
          <p:cNvPicPr/>
          <p:nvPr/>
        </p:nvPicPr>
        <p:blipFill>
          <a:blip r:embed="rId2"/>
          <a:stretch/>
        </p:blipFill>
        <p:spPr>
          <a:xfrm>
            <a:off x="4600440" y="1283760"/>
            <a:ext cx="3921120" cy="2575440"/>
          </a:xfrm>
          <a:prstGeom prst="rect">
            <a:avLst/>
          </a:prstGeom>
          <a:ln>
            <a:noFill/>
          </a:ln>
        </p:spPr>
      </p:pic>
      <p:sp>
        <p:nvSpPr>
          <p:cNvPr id="5" name="Elipse 4">
            <a:extLst>
              <a:ext uri="{FF2B5EF4-FFF2-40B4-BE49-F238E27FC236}">
                <a16:creationId xmlns:a16="http://schemas.microsoft.com/office/drawing/2014/main" id="{E10A31BC-56AA-404C-A45A-34B65D766441}"/>
              </a:ext>
            </a:extLst>
          </p:cNvPr>
          <p:cNvSpPr/>
          <p:nvPr/>
        </p:nvSpPr>
        <p:spPr>
          <a:xfrm>
            <a:off x="7787640" y="3899731"/>
            <a:ext cx="601981" cy="631137"/>
          </a:xfrm>
          <a:prstGeom prst="ellipse">
            <a:avLst/>
          </a:prstGeom>
          <a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7ED545D2-97A5-460D-BC40-C853A5522DD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97531" y="1282599"/>
            <a:ext cx="5824704" cy="2961599"/>
          </a:xfrm>
          <a:prstGeom prst="rect">
            <a:avLst/>
          </a:prstGeom>
          <a:solidFill>
            <a:schemeClr val="accent1">
              <a:lumMod val="40000"/>
              <a:lumOff val="60000"/>
              <a:alpha val="44000"/>
            </a:scheme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lvl="0"/>
            <a:endParaRPr lang="pt-BR" sz="1400"/>
          </a:p>
        </p:txBody>
      </p:sp>
      <p:pic>
        <p:nvPicPr>
          <p:cNvPr id="761" name="Picture 4" descr="Campanha da Fraternidade 2022"/>
          <p:cNvPicPr/>
          <p:nvPr/>
        </p:nvPicPr>
        <p:blipFill>
          <a:blip r:embed="rId4"/>
          <a:stretch/>
        </p:blipFill>
        <p:spPr>
          <a:xfrm>
            <a:off x="5529532" y="1514518"/>
            <a:ext cx="1709904" cy="247578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sp>
        <p:nvSpPr>
          <p:cNvPr id="760" name="TextShape 1"/>
          <p:cNvSpPr txBox="1"/>
          <p:nvPr/>
        </p:nvSpPr>
        <p:spPr>
          <a:xfrm>
            <a:off x="1759789" y="1388853"/>
            <a:ext cx="3942271" cy="272594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9000" b="1" strike="noStrike" spc="-1" dirty="0">
                <a:solidFill>
                  <a:srgbClr val="2B3547"/>
                </a:solidFill>
                <a:latin typeface="Amatic SC"/>
                <a:ea typeface="Amatic SC"/>
              </a:rPr>
              <a:t>Discernir </a:t>
            </a:r>
            <a:endParaRPr lang="pt-BR" sz="90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3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EE38E34C-CFA3-46A5-971B-770C0156200D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38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E1C12B92-8595-4D7D-A858-2B6C96951CFD}"/>
              </a:ext>
            </a:extLst>
          </p:cNvPr>
          <p:cNvSpPr/>
          <p:nvPr/>
        </p:nvSpPr>
        <p:spPr>
          <a:xfrm>
            <a:off x="392214" y="99906"/>
            <a:ext cx="1086851" cy="1087014"/>
          </a:xfrm>
          <a:prstGeom prst="ellipse">
            <a:avLst/>
          </a:prstGeom>
          <a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5B78CFC7-5754-4A4C-A9FB-26BDA497156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-8636"/>
            <a:ext cx="9143999" cy="5143320"/>
          </a:xfrm>
          <a:prstGeom prst="rect">
            <a:avLst/>
          </a:prstGeom>
          <a:solidFill>
            <a:schemeClr val="accent1">
              <a:lumMod val="40000"/>
              <a:lumOff val="60000"/>
              <a:alpha val="44000"/>
            </a:scheme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lvl="0"/>
            <a:endParaRPr lang="pt-BR" sz="1400"/>
          </a:p>
        </p:txBody>
      </p:sp>
      <p:sp>
        <p:nvSpPr>
          <p:cNvPr id="762" name="TextShape 1"/>
          <p:cNvSpPr txBox="1"/>
          <p:nvPr/>
        </p:nvSpPr>
        <p:spPr>
          <a:xfrm>
            <a:off x="935640" y="1186920"/>
            <a:ext cx="7314840" cy="2769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marL="50760" algn="ctr">
              <a:lnSpc>
                <a:spcPct val="100000"/>
              </a:lnSpc>
            </a:pPr>
            <a:r>
              <a:rPr lang="pt-BR" sz="4400" b="1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Quais os valores, princípios e características que devem presidir a educação em uma perspectiva cristã? </a:t>
            </a:r>
            <a:endParaRPr lang="pt-BR" sz="44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4" name="TextShape 1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3606BB1B-C0F9-4B2D-9EE0-AC6EE12D6421}" type="slidenum">
              <a:rPr lang="pt-BR" sz="1500" b="1" strike="noStrike" spc="-1">
                <a:solidFill>
                  <a:srgbClr val="EDF0EB"/>
                </a:solidFill>
                <a:latin typeface="Amatic SC"/>
                <a:ea typeface="Amatic SC"/>
              </a:rPr>
              <a:t>39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765" name="CustomShape 2"/>
          <p:cNvSpPr/>
          <p:nvPr/>
        </p:nvSpPr>
        <p:spPr>
          <a:xfrm>
            <a:off x="584640" y="1786320"/>
            <a:ext cx="4146480" cy="1416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4500" b="1" strike="noStrike" spc="-1">
                <a:solidFill>
                  <a:srgbClr val="AEE25A"/>
                </a:solidFill>
                <a:latin typeface="Amatic SC"/>
                <a:ea typeface="Amatic SC"/>
              </a:rPr>
              <a:t>1. Jesus Cristo: </a:t>
            </a:r>
            <a:endParaRPr lang="pt-BR" sz="4500" b="0" strike="noStrike" spc="-1">
              <a:latin typeface="Arial"/>
            </a:endParaRPr>
          </a:p>
          <a:p>
            <a:pPr algn="ctr">
              <a:lnSpc>
                <a:spcPct val="90000"/>
              </a:lnSpc>
            </a:pPr>
            <a:r>
              <a:rPr lang="pt-BR" sz="4500" b="1" strike="noStrike" spc="-1">
                <a:solidFill>
                  <a:srgbClr val="AEE25A"/>
                </a:solidFill>
                <a:latin typeface="Amatic SC"/>
                <a:ea typeface="Amatic SC"/>
              </a:rPr>
              <a:t>Mestre e Educador</a:t>
            </a:r>
            <a:endParaRPr lang="pt-BR" sz="4500" b="0" strike="noStrike" spc="-1">
              <a:latin typeface="Arial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CE86A8B1-D244-4A23-A32C-21F21710D50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22614" y="984997"/>
            <a:ext cx="4193616" cy="3019245"/>
          </a:xfrm>
          <a:prstGeom prst="rect">
            <a:avLst/>
          </a:prstGeom>
          <a:solidFill>
            <a:srgbClr val="002060">
              <a:alpha val="44000"/>
            </a:srgb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lvl="0"/>
            <a:endParaRPr lang="pt-BR" sz="1400"/>
          </a:p>
        </p:txBody>
      </p:sp>
      <p:pic>
        <p:nvPicPr>
          <p:cNvPr id="766" name="Picture 2" descr="Reflexão e sugestão para o 3º Domingo do Tempo Comum 2020 » Portal Kairós"/>
          <p:cNvPicPr/>
          <p:nvPr/>
        </p:nvPicPr>
        <p:blipFill>
          <a:blip r:embed="rId3"/>
          <a:stretch/>
        </p:blipFill>
        <p:spPr>
          <a:xfrm>
            <a:off x="4497480" y="1218960"/>
            <a:ext cx="3827520" cy="255132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CustomShape 2"/>
          <p:cNvSpPr/>
          <p:nvPr/>
        </p:nvSpPr>
        <p:spPr>
          <a:xfrm>
            <a:off x="5554920" y="4019040"/>
            <a:ext cx="3704760" cy="1228320"/>
          </a:xfrm>
          <a:prstGeom prst="ellipse">
            <a:avLst/>
          </a:prstGeom>
          <a:blipFill rotWithShape="0">
            <a:blip r:embed="rId3"/>
            <a:stretch>
              <a:fillRect/>
            </a:stretch>
          </a:blipFill>
          <a:ln>
            <a:noFill/>
          </a:ln>
          <a:effectLst>
            <a:softEdge rad="11250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pic>
        <p:nvPicPr>
          <p:cNvPr id="560" name="Picture 4" descr="O que é a Campanha da Fraternidade? Como começou? | Jovens Evangelizadores"/>
          <p:cNvPicPr/>
          <p:nvPr/>
        </p:nvPicPr>
        <p:blipFill>
          <a:blip r:embed="rId4"/>
          <a:stretch/>
        </p:blipFill>
        <p:spPr>
          <a:xfrm>
            <a:off x="8088120" y="269220"/>
            <a:ext cx="850320" cy="788040"/>
          </a:xfrm>
          <a:prstGeom prst="rect">
            <a:avLst/>
          </a:prstGeom>
          <a:ln>
            <a:noFill/>
          </a:ln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8DC91162-CFE6-4FD4-A39F-63C434FB6A7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0" y="663240"/>
            <a:ext cx="6829760" cy="4277606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9A0779AF-2EC4-4690-B8D0-23BCC9B9C79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6104" y="3114164"/>
            <a:ext cx="2542391" cy="176011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7" name="TextShape 1"/>
          <p:cNvSpPr txBox="1"/>
          <p:nvPr/>
        </p:nvSpPr>
        <p:spPr>
          <a:xfrm>
            <a:off x="883440" y="683640"/>
            <a:ext cx="6426000" cy="39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3400" b="1" strike="noStrike" spc="-1">
                <a:solidFill>
                  <a:srgbClr val="2B3547"/>
                </a:solidFill>
                <a:latin typeface="Amatic SC"/>
                <a:ea typeface="Amatic SC"/>
              </a:rPr>
              <a:t>2. O Serviço - Discípulos missionários educadores </a:t>
            </a:r>
            <a:endParaRPr lang="pt-BR" sz="3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8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CFC3A61D-FB55-4F44-8D44-657A4A03C2BD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40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7F7B134B-30D6-451E-8A3C-FFFAED0B19A4}"/>
              </a:ext>
            </a:extLst>
          </p:cNvPr>
          <p:cNvSpPr/>
          <p:nvPr/>
        </p:nvSpPr>
        <p:spPr>
          <a:xfrm>
            <a:off x="8173855" y="3735123"/>
            <a:ext cx="627246" cy="631137"/>
          </a:xfrm>
          <a:prstGeom prst="ellipse">
            <a:avLst/>
          </a:prstGeom>
          <a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  <a:ln>
            <a:solidFill>
              <a:srgbClr val="7030A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EDCDC301-3A84-4B40-9093-0CDFFB0ABF2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30213" y="1615669"/>
            <a:ext cx="5503500" cy="2509234"/>
          </a:xfrm>
          <a:prstGeom prst="rect">
            <a:avLst/>
          </a:prstGeom>
          <a:solidFill>
            <a:srgbClr val="7030A0">
              <a:alpha val="44000"/>
            </a:srgb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lvl="0"/>
            <a:endParaRPr lang="pt-BR" sz="1400"/>
          </a:p>
        </p:txBody>
      </p:sp>
      <p:pic>
        <p:nvPicPr>
          <p:cNvPr id="769" name="Picture 2"/>
          <p:cNvPicPr/>
          <p:nvPr/>
        </p:nvPicPr>
        <p:blipFill rotWithShape="1">
          <a:blip r:embed="rId4"/>
          <a:srcRect l="4026" t="19989" r="7067" b="13352"/>
          <a:stretch/>
        </p:blipFill>
        <p:spPr>
          <a:xfrm>
            <a:off x="1849426" y="1794424"/>
            <a:ext cx="5265074" cy="2220476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" name="TextShape 1"/>
          <p:cNvSpPr txBox="1"/>
          <p:nvPr/>
        </p:nvSpPr>
        <p:spPr>
          <a:xfrm>
            <a:off x="883440" y="683640"/>
            <a:ext cx="6426000" cy="39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3400" b="1" strike="noStrike" spc="-1">
                <a:solidFill>
                  <a:srgbClr val="2B3547"/>
                </a:solidFill>
                <a:latin typeface="Amatic SC"/>
                <a:ea typeface="Amatic SC"/>
              </a:rPr>
              <a:t>5. Educação integral </a:t>
            </a:r>
            <a:endParaRPr lang="pt-BR" sz="3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7" name="TextShape 2"/>
          <p:cNvSpPr txBox="1"/>
          <p:nvPr/>
        </p:nvSpPr>
        <p:spPr>
          <a:xfrm>
            <a:off x="1188000" y="1506240"/>
            <a:ext cx="2001600" cy="27889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8" name="TextShape 3"/>
          <p:cNvSpPr txBox="1"/>
          <p:nvPr/>
        </p:nvSpPr>
        <p:spPr>
          <a:xfrm>
            <a:off x="3400560" y="1506240"/>
            <a:ext cx="2001600" cy="27889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9" name="TextShape 4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39892D7E-9AB9-4CC0-B795-1D981B24CC2B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41</a:t>
            </a:fld>
            <a:endParaRPr lang="pt-BR" sz="1500" b="0" strike="noStrike" spc="-1">
              <a:latin typeface="Times New Roman"/>
            </a:endParaRPr>
          </a:p>
        </p:txBody>
      </p:sp>
      <p:pic>
        <p:nvPicPr>
          <p:cNvPr id="790" name="Picture 2"/>
          <p:cNvPicPr/>
          <p:nvPr/>
        </p:nvPicPr>
        <p:blipFill>
          <a:blip r:embed="rId2"/>
          <a:stretch/>
        </p:blipFill>
        <p:spPr>
          <a:xfrm>
            <a:off x="739080" y="1367280"/>
            <a:ext cx="6570000" cy="3066840"/>
          </a:xfrm>
          <a:prstGeom prst="rect">
            <a:avLst/>
          </a:prstGeom>
          <a:ln>
            <a:noFill/>
          </a:ln>
        </p:spPr>
      </p:pic>
      <p:pic>
        <p:nvPicPr>
          <p:cNvPr id="791" name="Picture 6"/>
          <p:cNvPicPr/>
          <p:nvPr/>
        </p:nvPicPr>
        <p:blipFill>
          <a:blip r:embed="rId3"/>
          <a:stretch/>
        </p:blipFill>
        <p:spPr>
          <a:xfrm>
            <a:off x="6871320" y="2403360"/>
            <a:ext cx="1491840" cy="995040"/>
          </a:xfrm>
          <a:prstGeom prst="rect">
            <a:avLst/>
          </a:prstGeom>
          <a:ln>
            <a:noFill/>
          </a:ln>
        </p:spPr>
      </p:pic>
      <p:sp>
        <p:nvSpPr>
          <p:cNvPr id="8" name="Elipse 7">
            <a:extLst>
              <a:ext uri="{FF2B5EF4-FFF2-40B4-BE49-F238E27FC236}">
                <a16:creationId xmlns:a16="http://schemas.microsoft.com/office/drawing/2014/main" id="{D0261658-AA7B-470D-ADC1-3B05D141121E}"/>
              </a:ext>
            </a:extLst>
          </p:cNvPr>
          <p:cNvSpPr/>
          <p:nvPr/>
        </p:nvSpPr>
        <p:spPr>
          <a:xfrm>
            <a:off x="8153400" y="3706716"/>
            <a:ext cx="799080" cy="727404"/>
          </a:xfrm>
          <a:prstGeom prst="ellipse">
            <a:avLst/>
          </a:prstGeom>
          <a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  <a:ln>
            <a:solidFill>
              <a:srgbClr val="00206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7" name="TextShape 1"/>
          <p:cNvSpPr txBox="1"/>
          <p:nvPr/>
        </p:nvSpPr>
        <p:spPr>
          <a:xfrm>
            <a:off x="883440" y="683640"/>
            <a:ext cx="6426000" cy="39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3400" b="1" strike="noStrike" spc="-1">
                <a:solidFill>
                  <a:srgbClr val="2B3547"/>
                </a:solidFill>
                <a:latin typeface="Amatic SC"/>
                <a:ea typeface="Amatic SC"/>
              </a:rPr>
              <a:t>6. Educar para o diálogo </a:t>
            </a:r>
            <a:endParaRPr lang="pt-BR" sz="3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8" name="TextShape 2"/>
          <p:cNvSpPr txBox="1"/>
          <p:nvPr/>
        </p:nvSpPr>
        <p:spPr>
          <a:xfrm>
            <a:off x="1188000" y="1506240"/>
            <a:ext cx="2001600" cy="27889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9" name="TextShape 3"/>
          <p:cNvSpPr txBox="1"/>
          <p:nvPr/>
        </p:nvSpPr>
        <p:spPr>
          <a:xfrm>
            <a:off x="3400560" y="1506240"/>
            <a:ext cx="2001600" cy="27889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0" name="TextShape 4"/>
          <p:cNvSpPr txBox="1"/>
          <p:nvPr/>
        </p:nvSpPr>
        <p:spPr>
          <a:xfrm>
            <a:off x="5612760" y="1506240"/>
            <a:ext cx="2001600" cy="27889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1" name="TextShape 5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C5C8830B-A9D5-428F-9752-B974E5061306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42</a:t>
            </a:fld>
            <a:endParaRPr lang="pt-BR" sz="1500" b="0" strike="noStrike" spc="-1">
              <a:latin typeface="Times New Roman"/>
            </a:endParaRPr>
          </a:p>
        </p:txBody>
      </p:sp>
      <p:pic>
        <p:nvPicPr>
          <p:cNvPr id="802" name="Picture 2" descr="UCPel sedia edição 2018 do Dia Anec | Universidade Católica de Pelotas -  UCPel"/>
          <p:cNvPicPr/>
          <p:nvPr/>
        </p:nvPicPr>
        <p:blipFill>
          <a:blip r:embed="rId3"/>
          <a:srcRect t="8065" b="32414"/>
          <a:stretch/>
        </p:blipFill>
        <p:spPr>
          <a:xfrm>
            <a:off x="1714680" y="1605600"/>
            <a:ext cx="5714640" cy="2306880"/>
          </a:xfrm>
          <a:prstGeom prst="rect">
            <a:avLst/>
          </a:prstGeom>
          <a:ln>
            <a:noFill/>
          </a:ln>
        </p:spPr>
      </p:pic>
      <p:sp>
        <p:nvSpPr>
          <p:cNvPr id="8" name="Elipse 7">
            <a:extLst>
              <a:ext uri="{FF2B5EF4-FFF2-40B4-BE49-F238E27FC236}">
                <a16:creationId xmlns:a16="http://schemas.microsoft.com/office/drawing/2014/main" id="{68F5F597-58EC-48B9-826C-5AF2C12777B6}"/>
              </a:ext>
            </a:extLst>
          </p:cNvPr>
          <p:cNvSpPr/>
          <p:nvPr/>
        </p:nvSpPr>
        <p:spPr>
          <a:xfrm>
            <a:off x="8135755" y="3714214"/>
            <a:ext cx="657726" cy="600657"/>
          </a:xfrm>
          <a:prstGeom prst="ellipse">
            <a:avLst/>
          </a:prstGeom>
          <a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  <a:ln>
            <a:solidFill>
              <a:srgbClr val="00B05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C752AB00-0103-4949-9258-A7A97A1472E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9144000" cy="5143320"/>
          </a:xfrm>
          <a:prstGeom prst="rect">
            <a:avLst/>
          </a:prstGeom>
          <a:solidFill>
            <a:schemeClr val="accent1">
              <a:lumMod val="40000"/>
              <a:lumOff val="60000"/>
              <a:alpha val="44000"/>
            </a:scheme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lvl="0"/>
            <a:endParaRPr lang="pt-BR" sz="1400"/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3" name="TextShape 1"/>
          <p:cNvSpPr txBox="1"/>
          <p:nvPr/>
        </p:nvSpPr>
        <p:spPr>
          <a:xfrm>
            <a:off x="883440" y="683640"/>
            <a:ext cx="6426000" cy="39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3400" b="1" strike="noStrike" spc="-1">
                <a:solidFill>
                  <a:srgbClr val="2B3547"/>
                </a:solidFill>
                <a:latin typeface="Amatic SC"/>
                <a:ea typeface="Amatic SC"/>
              </a:rPr>
              <a:t>7. A vida em família  </a:t>
            </a:r>
            <a:endParaRPr lang="pt-BR" sz="3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4" name="TextShape 2"/>
          <p:cNvSpPr txBox="1"/>
          <p:nvPr/>
        </p:nvSpPr>
        <p:spPr>
          <a:xfrm>
            <a:off x="1188000" y="1506240"/>
            <a:ext cx="2001600" cy="27889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5" name="TextShape 3"/>
          <p:cNvSpPr txBox="1"/>
          <p:nvPr/>
        </p:nvSpPr>
        <p:spPr>
          <a:xfrm>
            <a:off x="3400560" y="1506240"/>
            <a:ext cx="2001600" cy="27889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6" name="TextShape 4"/>
          <p:cNvSpPr txBox="1"/>
          <p:nvPr/>
        </p:nvSpPr>
        <p:spPr>
          <a:xfrm>
            <a:off x="5612760" y="1506240"/>
            <a:ext cx="2001600" cy="27889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7" name="TextShape 5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EF323559-7351-44D2-AB92-FABE27EC542D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43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2C6B9626-C7A6-42AE-B848-1791513BB106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3780" y="1475640"/>
            <a:ext cx="4127280" cy="2517240"/>
          </a:xfrm>
          <a:prstGeom prst="rect">
            <a:avLst/>
          </a:prstGeom>
          <a:solidFill>
            <a:srgbClr val="FFC000">
              <a:alpha val="44000"/>
            </a:srgb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lvl="0"/>
            <a:endParaRPr lang="pt-BR" sz="1400"/>
          </a:p>
        </p:txBody>
      </p:sp>
      <p:pic>
        <p:nvPicPr>
          <p:cNvPr id="809" name="Picture 4" descr="O contraste moral entre as famílias ricas e pobres, por Gustavo Conde"/>
          <p:cNvPicPr/>
          <p:nvPr/>
        </p:nvPicPr>
        <p:blipFill>
          <a:blip r:embed="rId4"/>
          <a:stretch/>
        </p:blipFill>
        <p:spPr>
          <a:xfrm>
            <a:off x="626760" y="1570950"/>
            <a:ext cx="3968640" cy="2326620"/>
          </a:xfrm>
          <a:prstGeom prst="rect">
            <a:avLst/>
          </a:prstGeom>
          <a:ln>
            <a:noFill/>
          </a:ln>
        </p:spPr>
      </p:pic>
      <p:sp>
        <p:nvSpPr>
          <p:cNvPr id="10" name="Retângulo 9">
            <a:extLst>
              <a:ext uri="{FF2B5EF4-FFF2-40B4-BE49-F238E27FC236}">
                <a16:creationId xmlns:a16="http://schemas.microsoft.com/office/drawing/2014/main" id="{C7D5ADB5-3BE2-4BC9-8AA0-E034E9DF066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943340" y="1475640"/>
            <a:ext cx="3573900" cy="2517240"/>
          </a:xfrm>
          <a:prstGeom prst="rect">
            <a:avLst/>
          </a:prstGeom>
          <a:solidFill>
            <a:srgbClr val="FFC000">
              <a:alpha val="44000"/>
            </a:srgb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lvl="0"/>
            <a:endParaRPr lang="pt-BR" sz="1400"/>
          </a:p>
        </p:txBody>
      </p:sp>
      <p:pic>
        <p:nvPicPr>
          <p:cNvPr id="808" name="Picture 2" descr="Como a vida em família nos faz pessoas melhores"/>
          <p:cNvPicPr/>
          <p:nvPr/>
        </p:nvPicPr>
        <p:blipFill>
          <a:blip r:embed="rId5"/>
          <a:stretch/>
        </p:blipFill>
        <p:spPr>
          <a:xfrm>
            <a:off x="5059680" y="1559580"/>
            <a:ext cx="3344160" cy="236847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4" name="TextShape 1"/>
          <p:cNvSpPr txBox="1"/>
          <p:nvPr/>
        </p:nvSpPr>
        <p:spPr>
          <a:xfrm>
            <a:off x="1392840" y="2071800"/>
            <a:ext cx="4513320" cy="16801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9000" b="1" strike="noStrike" spc="-1">
                <a:solidFill>
                  <a:srgbClr val="2B3547"/>
                </a:solidFill>
                <a:latin typeface="Amatic SC"/>
                <a:ea typeface="Amatic SC"/>
              </a:rPr>
              <a:t>Agir </a:t>
            </a:r>
            <a:endParaRPr lang="pt-BR" sz="90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473B7A31-A6BE-4326-9334-0DCF7A771E7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09600" y="1366560"/>
            <a:ext cx="1893960" cy="2653560"/>
          </a:xfrm>
          <a:prstGeom prst="rect">
            <a:avLst/>
          </a:prstGeom>
          <a:solidFill>
            <a:schemeClr val="accent1">
              <a:lumMod val="40000"/>
              <a:lumOff val="60000"/>
              <a:alpha val="44000"/>
            </a:scheme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lvl="0"/>
            <a:endParaRPr lang="pt-BR" sz="1400"/>
          </a:p>
        </p:txBody>
      </p:sp>
      <p:pic>
        <p:nvPicPr>
          <p:cNvPr id="815" name="Picture 4" descr="Campanha da Fraternidade 2022"/>
          <p:cNvPicPr/>
          <p:nvPr/>
        </p:nvPicPr>
        <p:blipFill>
          <a:blip r:embed="rId3"/>
          <a:stretch/>
        </p:blipFill>
        <p:spPr>
          <a:xfrm>
            <a:off x="6037560" y="1366560"/>
            <a:ext cx="1893960" cy="26535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6" name="TextShape 1"/>
          <p:cNvSpPr txBox="1"/>
          <p:nvPr/>
        </p:nvSpPr>
        <p:spPr>
          <a:xfrm>
            <a:off x="883440" y="683640"/>
            <a:ext cx="6426000" cy="39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2000" b="1" strike="noStrike" spc="-1" dirty="0">
                <a:solidFill>
                  <a:srgbClr val="2B3547"/>
                </a:solidFill>
                <a:latin typeface="Amatic SC"/>
                <a:ea typeface="Amatic SC"/>
              </a:rPr>
              <a:t>T.B 217 </a:t>
            </a:r>
            <a:endParaRPr lang="pt-BR" sz="20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8" name="TextShape 3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3582A351-C59C-46C8-99CC-E9BF38A8461E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45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819" name="CustomShape 4"/>
          <p:cNvSpPr/>
          <p:nvPr/>
        </p:nvSpPr>
        <p:spPr>
          <a:xfrm rot="865200">
            <a:off x="7894440" y="3753360"/>
            <a:ext cx="788760" cy="998640"/>
          </a:xfrm>
          <a:custGeom>
            <a:avLst/>
            <a:gdLst/>
            <a:ahLst/>
            <a:cxnLst/>
            <a:rect l="l" t="t" r="r" b="b"/>
            <a:pathLst>
              <a:path w="374107" h="473680">
                <a:moveTo>
                  <a:pt x="176658" y="66970"/>
                </a:moveTo>
                <a:cubicBezTo>
                  <a:pt x="153572" y="67387"/>
                  <a:pt x="129367" y="75192"/>
                  <a:pt x="123381" y="100186"/>
                </a:cubicBezTo>
                <a:cubicBezTo>
                  <a:pt x="121189" y="109526"/>
                  <a:pt x="136185" y="110644"/>
                  <a:pt x="138312" y="101743"/>
                </a:cubicBezTo>
                <a:cubicBezTo>
                  <a:pt x="142170" y="85650"/>
                  <a:pt x="160236" y="81660"/>
                  <a:pt x="174400" y="81397"/>
                </a:cubicBezTo>
                <a:cubicBezTo>
                  <a:pt x="183652" y="81221"/>
                  <a:pt x="186458" y="66795"/>
                  <a:pt x="176658" y="66970"/>
                </a:cubicBezTo>
                <a:close/>
                <a:moveTo>
                  <a:pt x="82580" y="302418"/>
                </a:moveTo>
                <a:cubicBezTo>
                  <a:pt x="67276" y="334412"/>
                  <a:pt x="51513" y="366168"/>
                  <a:pt x="35288" y="397680"/>
                </a:cubicBezTo>
                <a:cubicBezTo>
                  <a:pt x="30903" y="406450"/>
                  <a:pt x="44935" y="411054"/>
                  <a:pt x="49167" y="402832"/>
                </a:cubicBezTo>
                <a:cubicBezTo>
                  <a:pt x="65390" y="371320"/>
                  <a:pt x="81155" y="339573"/>
                  <a:pt x="96458" y="307592"/>
                </a:cubicBezTo>
                <a:cubicBezTo>
                  <a:pt x="100689" y="298778"/>
                  <a:pt x="86592" y="294130"/>
                  <a:pt x="82580" y="302418"/>
                </a:cubicBezTo>
                <a:close/>
                <a:moveTo>
                  <a:pt x="245501" y="19218"/>
                </a:moveTo>
                <a:cubicBezTo>
                  <a:pt x="245369" y="19161"/>
                  <a:pt x="245238" y="19118"/>
                  <a:pt x="245085" y="19087"/>
                </a:cubicBezTo>
                <a:cubicBezTo>
                  <a:pt x="245085" y="16399"/>
                  <a:pt x="243549" y="13943"/>
                  <a:pt x="241138" y="12773"/>
                </a:cubicBezTo>
                <a:cubicBezTo>
                  <a:pt x="166156" y="-26692"/>
                  <a:pt x="69008" y="30444"/>
                  <a:pt x="51381" y="113626"/>
                </a:cubicBezTo>
                <a:cubicBezTo>
                  <a:pt x="42304" y="163022"/>
                  <a:pt x="74380" y="208230"/>
                  <a:pt x="111038" y="236951"/>
                </a:cubicBezTo>
                <a:lnTo>
                  <a:pt x="97883" y="263699"/>
                </a:lnTo>
                <a:cubicBezTo>
                  <a:pt x="94836" y="262449"/>
                  <a:pt x="91021" y="259797"/>
                  <a:pt x="87819" y="261266"/>
                </a:cubicBezTo>
                <a:cubicBezTo>
                  <a:pt x="84136" y="260213"/>
                  <a:pt x="80211" y="261805"/>
                  <a:pt x="78304" y="265124"/>
                </a:cubicBezTo>
                <a:cubicBezTo>
                  <a:pt x="50109" y="316165"/>
                  <a:pt x="22046" y="367424"/>
                  <a:pt x="2117" y="422367"/>
                </a:cubicBezTo>
                <a:cubicBezTo>
                  <a:pt x="78" y="424297"/>
                  <a:pt x="-558" y="427291"/>
                  <a:pt x="516" y="429887"/>
                </a:cubicBezTo>
                <a:cubicBezTo>
                  <a:pt x="9724" y="453233"/>
                  <a:pt x="31188" y="469492"/>
                  <a:pt x="56160" y="472048"/>
                </a:cubicBezTo>
                <a:cubicBezTo>
                  <a:pt x="58068" y="472278"/>
                  <a:pt x="59975" y="471759"/>
                  <a:pt x="61510" y="470601"/>
                </a:cubicBezTo>
                <a:cubicBezTo>
                  <a:pt x="64229" y="474085"/>
                  <a:pt x="69249" y="474705"/>
                  <a:pt x="72735" y="471985"/>
                </a:cubicBezTo>
                <a:cubicBezTo>
                  <a:pt x="73678" y="471255"/>
                  <a:pt x="74446" y="470325"/>
                  <a:pt x="74972" y="469264"/>
                </a:cubicBezTo>
                <a:cubicBezTo>
                  <a:pt x="101413" y="411953"/>
                  <a:pt x="127832" y="354649"/>
                  <a:pt x="154251" y="297353"/>
                </a:cubicBezTo>
                <a:cubicBezTo>
                  <a:pt x="155106" y="295702"/>
                  <a:pt x="155216" y="293753"/>
                  <a:pt x="154514" y="292026"/>
                </a:cubicBezTo>
                <a:cubicBezTo>
                  <a:pt x="155785" y="285711"/>
                  <a:pt x="148748" y="284462"/>
                  <a:pt x="143968" y="282620"/>
                </a:cubicBezTo>
                <a:lnTo>
                  <a:pt x="156224" y="259862"/>
                </a:lnTo>
                <a:cubicBezTo>
                  <a:pt x="223357" y="279594"/>
                  <a:pt x="292157" y="231360"/>
                  <a:pt x="310551" y="162934"/>
                </a:cubicBezTo>
                <a:cubicBezTo>
                  <a:pt x="327367" y="101633"/>
                  <a:pt x="298010" y="40661"/>
                  <a:pt x="245501" y="19218"/>
                </a:cubicBezTo>
                <a:close/>
                <a:moveTo>
                  <a:pt x="63089" y="459902"/>
                </a:moveTo>
                <a:cubicBezTo>
                  <a:pt x="61883" y="458595"/>
                  <a:pt x="60239" y="457808"/>
                  <a:pt x="58463" y="457710"/>
                </a:cubicBezTo>
                <a:cubicBezTo>
                  <a:pt x="39980" y="455815"/>
                  <a:pt x="23887" y="444325"/>
                  <a:pt x="16082" y="427476"/>
                </a:cubicBezTo>
                <a:cubicBezTo>
                  <a:pt x="35266" y="374615"/>
                  <a:pt x="61993" y="325154"/>
                  <a:pt x="89091" y="276043"/>
                </a:cubicBezTo>
                <a:cubicBezTo>
                  <a:pt x="105294" y="283512"/>
                  <a:pt x="121781" y="290309"/>
                  <a:pt x="138509" y="296433"/>
                </a:cubicBezTo>
                <a:cubicBezTo>
                  <a:pt x="113296" y="350834"/>
                  <a:pt x="88148" y="405288"/>
                  <a:pt x="63089" y="459792"/>
                </a:cubicBezTo>
                <a:close/>
                <a:moveTo>
                  <a:pt x="130178" y="277380"/>
                </a:moveTo>
                <a:cubicBezTo>
                  <a:pt x="123886" y="274909"/>
                  <a:pt x="117637" y="272337"/>
                  <a:pt x="111410" y="269663"/>
                </a:cubicBezTo>
                <a:lnTo>
                  <a:pt x="123359" y="245304"/>
                </a:lnTo>
                <a:cubicBezTo>
                  <a:pt x="129411" y="248983"/>
                  <a:pt x="135725" y="252202"/>
                  <a:pt x="142258" y="254929"/>
                </a:cubicBezTo>
                <a:close/>
                <a:moveTo>
                  <a:pt x="299106" y="143640"/>
                </a:moveTo>
                <a:cubicBezTo>
                  <a:pt x="279813" y="255587"/>
                  <a:pt x="162692" y="284221"/>
                  <a:pt x="93016" y="196106"/>
                </a:cubicBezTo>
                <a:cubicBezTo>
                  <a:pt x="78787" y="178917"/>
                  <a:pt x="66816" y="157299"/>
                  <a:pt x="65150" y="133204"/>
                </a:cubicBezTo>
                <a:cubicBezTo>
                  <a:pt x="63417" y="108473"/>
                  <a:pt x="76901" y="82252"/>
                  <a:pt x="92226" y="63046"/>
                </a:cubicBezTo>
                <a:cubicBezTo>
                  <a:pt x="128841" y="17267"/>
                  <a:pt x="187861" y="4222"/>
                  <a:pt x="234605" y="27966"/>
                </a:cubicBezTo>
                <a:cubicBezTo>
                  <a:pt x="234451" y="30773"/>
                  <a:pt x="236139" y="33353"/>
                  <a:pt x="238770" y="34325"/>
                </a:cubicBezTo>
                <a:cubicBezTo>
                  <a:pt x="279308" y="50768"/>
                  <a:pt x="305333" y="95384"/>
                  <a:pt x="299106" y="143487"/>
                </a:cubicBezTo>
                <a:close/>
                <a:moveTo>
                  <a:pt x="224147" y="44191"/>
                </a:moveTo>
                <a:cubicBezTo>
                  <a:pt x="223576" y="44070"/>
                  <a:pt x="223006" y="44011"/>
                  <a:pt x="222414" y="44015"/>
                </a:cubicBezTo>
                <a:cubicBezTo>
                  <a:pt x="167844" y="19043"/>
                  <a:pt x="97751" y="45791"/>
                  <a:pt x="88543" y="108736"/>
                </a:cubicBezTo>
                <a:cubicBezTo>
                  <a:pt x="85780" y="129433"/>
                  <a:pt x="93103" y="149538"/>
                  <a:pt x="100865" y="168393"/>
                </a:cubicBezTo>
                <a:cubicBezTo>
                  <a:pt x="117067" y="207704"/>
                  <a:pt x="153790" y="235307"/>
                  <a:pt x="197771" y="227831"/>
                </a:cubicBezTo>
                <a:cubicBezTo>
                  <a:pt x="282904" y="214194"/>
                  <a:pt x="321360" y="69535"/>
                  <a:pt x="224147" y="44191"/>
                </a:cubicBezTo>
                <a:close/>
                <a:moveTo>
                  <a:pt x="265803" y="134936"/>
                </a:moveTo>
                <a:cubicBezTo>
                  <a:pt x="252013" y="214588"/>
                  <a:pt x="159666" y="248944"/>
                  <a:pt x="117966" y="169555"/>
                </a:cubicBezTo>
                <a:cubicBezTo>
                  <a:pt x="103386" y="138181"/>
                  <a:pt x="95011" y="104395"/>
                  <a:pt x="119106" y="75280"/>
                </a:cubicBezTo>
                <a:cubicBezTo>
                  <a:pt x="143530" y="45857"/>
                  <a:pt x="185318" y="43270"/>
                  <a:pt x="218336" y="58310"/>
                </a:cubicBezTo>
                <a:cubicBezTo>
                  <a:pt x="219762" y="58996"/>
                  <a:pt x="221406" y="59165"/>
                  <a:pt x="222941" y="58792"/>
                </a:cubicBezTo>
                <a:cubicBezTo>
                  <a:pt x="256354" y="66619"/>
                  <a:pt x="271218" y="103562"/>
                  <a:pt x="265803" y="134871"/>
                </a:cubicBezTo>
                <a:close/>
                <a:moveTo>
                  <a:pt x="205927" y="69535"/>
                </a:moveTo>
                <a:cubicBezTo>
                  <a:pt x="197574" y="65435"/>
                  <a:pt x="191238" y="78809"/>
                  <a:pt x="199964" y="83085"/>
                </a:cubicBezTo>
                <a:cubicBezTo>
                  <a:pt x="208251" y="87163"/>
                  <a:pt x="214697" y="73811"/>
                  <a:pt x="205927" y="69535"/>
                </a:cubicBezTo>
                <a:close/>
                <a:moveTo>
                  <a:pt x="315550" y="67628"/>
                </a:moveTo>
                <a:cubicBezTo>
                  <a:pt x="336050" y="108495"/>
                  <a:pt x="341662" y="159996"/>
                  <a:pt x="309586" y="196676"/>
                </a:cubicBezTo>
                <a:cubicBezTo>
                  <a:pt x="303185" y="203999"/>
                  <a:pt x="313971" y="213448"/>
                  <a:pt x="320439" y="206103"/>
                </a:cubicBezTo>
                <a:cubicBezTo>
                  <a:pt x="357141" y="164118"/>
                  <a:pt x="351594" y="105974"/>
                  <a:pt x="328069" y="59055"/>
                </a:cubicBezTo>
                <a:cubicBezTo>
                  <a:pt x="323815" y="50614"/>
                  <a:pt x="311428" y="59538"/>
                  <a:pt x="315550" y="67628"/>
                </a:cubicBezTo>
                <a:close/>
                <a:moveTo>
                  <a:pt x="370953" y="127986"/>
                </a:moveTo>
                <a:cubicBezTo>
                  <a:pt x="368169" y="118756"/>
                  <a:pt x="354181" y="124347"/>
                  <a:pt x="356856" y="133138"/>
                </a:cubicBezTo>
                <a:cubicBezTo>
                  <a:pt x="362030" y="149417"/>
                  <a:pt x="359531" y="167165"/>
                  <a:pt x="350037" y="181372"/>
                </a:cubicBezTo>
                <a:cubicBezTo>
                  <a:pt x="344666" y="189331"/>
                  <a:pt x="355409" y="198912"/>
                  <a:pt x="360999" y="190800"/>
                </a:cubicBezTo>
                <a:cubicBezTo>
                  <a:pt x="373804" y="172506"/>
                  <a:pt x="377465" y="149336"/>
                  <a:pt x="370931" y="127986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89D100CD-6837-4D02-B92B-F4136D6E00DD}"/>
              </a:ext>
            </a:extLst>
          </p:cNvPr>
          <p:cNvSpPr/>
          <p:nvPr/>
        </p:nvSpPr>
        <p:spPr>
          <a:xfrm>
            <a:off x="8100927" y="3818340"/>
            <a:ext cx="482465" cy="411480"/>
          </a:xfrm>
          <a:prstGeom prst="ellipse">
            <a:avLst/>
          </a:prstGeom>
          <a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  <a:ln>
            <a:solidFill>
              <a:srgbClr val="00B05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791E1AFE-5632-4F6A-AF92-F577806E9E2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80"/>
            <a:ext cx="9144000" cy="5143320"/>
          </a:xfrm>
          <a:prstGeom prst="rect">
            <a:avLst/>
          </a:prstGeom>
          <a:solidFill>
            <a:schemeClr val="accent1">
              <a:lumMod val="40000"/>
              <a:lumOff val="60000"/>
              <a:alpha val="44000"/>
            </a:scheme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lvl="0"/>
            <a:endParaRPr lang="pt-BR" sz="1400"/>
          </a:p>
        </p:txBody>
      </p:sp>
      <p:sp>
        <p:nvSpPr>
          <p:cNvPr id="817" name="TextShape 2"/>
          <p:cNvSpPr txBox="1"/>
          <p:nvPr/>
        </p:nvSpPr>
        <p:spPr>
          <a:xfrm>
            <a:off x="733680" y="1307880"/>
            <a:ext cx="6880320" cy="29872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 algn="just">
              <a:lnSpc>
                <a:spcPct val="100000"/>
              </a:lnSpc>
            </a:pPr>
            <a:r>
              <a:rPr lang="pt-BR" sz="24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O exercício da escuta conduz à necessária tomada de </a:t>
            </a:r>
            <a:r>
              <a:rPr lang="pt-BR" sz="24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posição</a:t>
            </a:r>
            <a:r>
              <a:rPr lang="pt-BR" sz="24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 da parte de quem escutou. Entre a escuta e a ação, urge a prática do </a:t>
            </a:r>
            <a:r>
              <a:rPr lang="pt-BR" sz="24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discernimento</a:t>
            </a:r>
            <a:r>
              <a:rPr lang="pt-BR" sz="24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, qual iluminação à luz de critérios da fé e da tradição. E o discernimento se pratica com outra escuta, dessa vez, da </a:t>
            </a:r>
            <a:r>
              <a:rPr lang="pt-BR" sz="24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Palavra de Deus</a:t>
            </a:r>
            <a:r>
              <a:rPr lang="pt-BR" sz="24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, como passo fundamental para julgar evangelicamente os desafios do tempo presente e </a:t>
            </a:r>
            <a:r>
              <a:rPr lang="pt-BR" sz="24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apontar propostas que inspiram o nosso agir.</a:t>
            </a:r>
            <a:endParaRPr lang="pt-BR" sz="24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1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E23A707B-6867-4F08-8176-E2FAA5EDAA42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46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5738264A-107D-4DFA-A850-9700D59479CD}"/>
              </a:ext>
            </a:extLst>
          </p:cNvPr>
          <p:cNvSpPr/>
          <p:nvPr/>
        </p:nvSpPr>
        <p:spPr>
          <a:xfrm>
            <a:off x="409074" y="0"/>
            <a:ext cx="1086851" cy="1087014"/>
          </a:xfrm>
          <a:prstGeom prst="ellipse">
            <a:avLst/>
          </a:prstGeom>
          <a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CB80C7B9-67C8-4703-8C14-B81F76E8D44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80"/>
            <a:ext cx="9144000" cy="5143320"/>
          </a:xfrm>
          <a:prstGeom prst="rect">
            <a:avLst/>
          </a:prstGeom>
          <a:solidFill>
            <a:srgbClr val="FFFF00">
              <a:alpha val="44000"/>
            </a:srgb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lvl="0"/>
            <a:endParaRPr lang="pt-BR" sz="1400"/>
          </a:p>
        </p:txBody>
      </p:sp>
      <p:sp>
        <p:nvSpPr>
          <p:cNvPr id="820" name="TextShape 1"/>
          <p:cNvSpPr txBox="1"/>
          <p:nvPr/>
        </p:nvSpPr>
        <p:spPr>
          <a:xfrm>
            <a:off x="1714320" y="1186920"/>
            <a:ext cx="5715000" cy="27694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just">
              <a:lnSpc>
                <a:spcPct val="100000"/>
              </a:lnSpc>
              <a:spcAft>
                <a:spcPts val="1001"/>
              </a:spcAft>
            </a:pPr>
            <a:r>
              <a:rPr lang="pt-BR" sz="2800" b="1" strike="noStrike" spc="-1" dirty="0">
                <a:solidFill>
                  <a:srgbClr val="2B3547"/>
                </a:solidFill>
                <a:latin typeface="Nunito SemiBold"/>
                <a:ea typeface="Nunito SemiBold"/>
              </a:rPr>
              <a:t>Os gestos e as palavras de Jesus, seu modo de educar, inspira e desperta o desejo de uma vida nova: não mais pecar, segui-lo, conhecer o caminho do Reino, amar e servir.</a:t>
            </a:r>
            <a:endParaRPr lang="pt-BR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2" name="TextShape 1"/>
          <p:cNvSpPr txBox="1"/>
          <p:nvPr/>
        </p:nvSpPr>
        <p:spPr>
          <a:xfrm>
            <a:off x="4297680" y="4860000"/>
            <a:ext cx="548280" cy="283320"/>
          </a:xfrm>
          <a:prstGeom prst="rect">
            <a:avLst/>
          </a:prstGeom>
          <a:noFill/>
          <a:ln>
            <a:noFill/>
          </a:ln>
        </p:spPr>
        <p:txBody>
          <a:bodyPr tIns="91440" bIns="91440">
            <a:noAutofit/>
          </a:bodyPr>
          <a:lstStyle/>
          <a:p>
            <a:pPr algn="ctr">
              <a:lnSpc>
                <a:spcPct val="100000"/>
              </a:lnSpc>
            </a:pPr>
            <a:fld id="{8D4E1BFF-9A45-4F48-AE7B-80B91C78C2B2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47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823" name="CustomShape 2"/>
          <p:cNvSpPr/>
          <p:nvPr/>
        </p:nvSpPr>
        <p:spPr>
          <a:xfrm>
            <a:off x="606240" y="1743840"/>
            <a:ext cx="2758680" cy="1884240"/>
          </a:xfrm>
          <a:prstGeom prst="ellipse">
            <a:avLst/>
          </a:prstGeom>
          <a:blipFill rotWithShape="0">
            <a:blip r:embed="rId3"/>
            <a:stretch>
              <a:fillRect/>
            </a:stretch>
          </a:blipFill>
          <a:ln>
            <a:noFill/>
          </a:ln>
          <a:effectLst>
            <a:softEdge rad="11250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824" name="CustomShape 3"/>
          <p:cNvSpPr/>
          <p:nvPr/>
        </p:nvSpPr>
        <p:spPr>
          <a:xfrm>
            <a:off x="3176492" y="1412460"/>
            <a:ext cx="5205180" cy="27295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noAutofit/>
          </a:bodyPr>
          <a:lstStyle/>
          <a:p>
            <a:pPr marL="101520" algn="just">
              <a:lnSpc>
                <a:spcPct val="100000"/>
              </a:lnSpc>
            </a:pPr>
            <a:r>
              <a:rPr lang="pt-BR" sz="3600" b="1" strike="noStrike" spc="-1" dirty="0">
                <a:solidFill>
                  <a:srgbClr val="000000"/>
                </a:solidFill>
                <a:latin typeface="Arial"/>
                <a:ea typeface="Arial"/>
              </a:rPr>
              <a:t>Nosso agir será sempre uma resposta do nosso encontro pessoal com o Senhor </a:t>
            </a:r>
            <a:endParaRPr lang="pt-BR" sz="3600" b="0" strike="noStrike" spc="-1" dirty="0">
              <a:latin typeface="Arial"/>
            </a:endParaRP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2972B28D-0D68-4845-BE5C-3EF9F0571300}"/>
              </a:ext>
            </a:extLst>
          </p:cNvPr>
          <p:cNvSpPr/>
          <p:nvPr/>
        </p:nvSpPr>
        <p:spPr>
          <a:xfrm>
            <a:off x="8051935" y="3656493"/>
            <a:ext cx="817386" cy="783537"/>
          </a:xfrm>
          <a:prstGeom prst="ellipse">
            <a:avLst/>
          </a:prstGeom>
          <a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D404BC4C-E8D4-4271-8C53-B408ED1F41C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9144000" cy="5143320"/>
          </a:xfrm>
          <a:prstGeom prst="rect">
            <a:avLst/>
          </a:prstGeom>
          <a:solidFill>
            <a:schemeClr val="accent2">
              <a:lumMod val="20000"/>
              <a:lumOff val="80000"/>
              <a:alpha val="44000"/>
            </a:scheme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lvl="0"/>
            <a:endParaRPr lang="pt-BR" sz="1400"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" name="TextShape 1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lnSpc>
                <a:spcPct val="100000"/>
              </a:lnSpc>
            </a:pPr>
            <a:fld id="{4116F388-E3D8-4EE2-8B31-63C8FC5C7787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48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826" name="CustomShape 2"/>
          <p:cNvSpPr/>
          <p:nvPr/>
        </p:nvSpPr>
        <p:spPr>
          <a:xfrm>
            <a:off x="751740" y="1379880"/>
            <a:ext cx="5191860" cy="29973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>
            <a:noAutofit/>
          </a:bodyPr>
          <a:lstStyle/>
          <a:p>
            <a:pPr algn="just">
              <a:lnSpc>
                <a:spcPct val="107000"/>
              </a:lnSpc>
              <a:spcAft>
                <a:spcPts val="799"/>
              </a:spcAft>
            </a:pPr>
            <a:r>
              <a:rPr lang="pt-BR" sz="2500" b="0" strike="noStrike" spc="-1" dirty="0">
                <a:solidFill>
                  <a:srgbClr val="000000"/>
                </a:solidFill>
                <a:latin typeface="Palatino Linotype"/>
                <a:ea typeface="Calibri"/>
              </a:rPr>
              <a:t>Se é urgente encontrar respostas, é indispensável fazer crescer e apoiar grupos dirigentes capazes de elaborar cultura, iniciar processos, </a:t>
            </a:r>
            <a:r>
              <a:rPr lang="pt-BR" sz="2500" b="1" strike="noStrike" spc="-1" dirty="0">
                <a:solidFill>
                  <a:srgbClr val="000000"/>
                </a:solidFill>
                <a:latin typeface="Palatino Linotype"/>
                <a:ea typeface="Calibri"/>
              </a:rPr>
              <a:t>traçar percursos, alargar horizontes e criar pertenças</a:t>
            </a:r>
            <a:r>
              <a:rPr lang="pt-BR" sz="2800" b="0" strike="noStrike" spc="-1" dirty="0">
                <a:solidFill>
                  <a:srgbClr val="000000"/>
                </a:solidFill>
                <a:latin typeface="Palatino Linotype"/>
                <a:ea typeface="Calibri"/>
              </a:rPr>
              <a:t>. </a:t>
            </a:r>
            <a:endParaRPr lang="pt-BR" sz="2800" b="0" strike="noStrike" spc="-1" dirty="0">
              <a:latin typeface="Arial"/>
            </a:endParaRPr>
          </a:p>
          <a:p>
            <a:pPr algn="ctr">
              <a:lnSpc>
                <a:spcPct val="100000"/>
              </a:lnSpc>
              <a:spcBef>
                <a:spcPts val="601"/>
              </a:spcBef>
            </a:pPr>
            <a:endParaRPr lang="pt-BR" sz="2800" b="0" strike="noStrike" spc="-1" dirty="0">
              <a:latin typeface="Arial"/>
            </a:endParaRPr>
          </a:p>
        </p:txBody>
      </p:sp>
      <p:pic>
        <p:nvPicPr>
          <p:cNvPr id="827" name="Picture 8" descr="23.08.2021 POST Rumo a Assis Na Direcao da Economia de Francisco"/>
          <p:cNvPicPr/>
          <p:nvPr/>
        </p:nvPicPr>
        <p:blipFill rotWithShape="1">
          <a:blip r:embed="rId3"/>
          <a:srcRect t="1" b="14193"/>
          <a:stretch/>
        </p:blipFill>
        <p:spPr>
          <a:xfrm>
            <a:off x="6408538" y="1470990"/>
            <a:ext cx="2138580" cy="1980870"/>
          </a:xfrm>
          <a:prstGeom prst="rect">
            <a:avLst/>
          </a:prstGeom>
          <a:ln>
            <a:noFill/>
          </a:ln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5FF185AC-BE9E-4454-AD51-B5869F7505A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9144000" cy="5143320"/>
          </a:xfrm>
          <a:prstGeom prst="rect">
            <a:avLst/>
          </a:prstGeom>
          <a:solidFill>
            <a:schemeClr val="accent1">
              <a:lumMod val="40000"/>
              <a:lumOff val="60000"/>
              <a:alpha val="44000"/>
            </a:scheme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lvl="0"/>
            <a:endParaRPr lang="pt-BR" sz="1400"/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DF3904D0-EDCE-4EB3-8465-2508EF6083D0}"/>
              </a:ext>
            </a:extLst>
          </p:cNvPr>
          <p:cNvSpPr/>
          <p:nvPr/>
        </p:nvSpPr>
        <p:spPr>
          <a:xfrm>
            <a:off x="8066632" y="3657316"/>
            <a:ext cx="797055" cy="787647"/>
          </a:xfrm>
          <a:prstGeom prst="ellipse">
            <a:avLst/>
          </a:prstGeom>
          <a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" name="TextShape 1"/>
          <p:cNvSpPr txBox="1"/>
          <p:nvPr/>
        </p:nvSpPr>
        <p:spPr>
          <a:xfrm>
            <a:off x="1714320" y="1186920"/>
            <a:ext cx="5715000" cy="2769480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txBody>
          <a:bodyPr lIns="0" tIns="0" rIns="0" bIns="0" anchor="ctr">
            <a:noAutofit/>
          </a:bodyPr>
          <a:lstStyle/>
          <a:p>
            <a:pPr marL="50760" algn="just">
              <a:lnSpc>
                <a:spcPct val="107000"/>
              </a:lnSpc>
              <a:spcAft>
                <a:spcPts val="799"/>
              </a:spcAft>
            </a:pPr>
            <a:r>
              <a:rPr lang="pt-BR" sz="3000" b="1" strike="noStrike" spc="-1" dirty="0">
                <a:solidFill>
                  <a:srgbClr val="2B3547"/>
                </a:solidFill>
                <a:latin typeface="Palatino Linotype"/>
                <a:ea typeface="Calibri"/>
              </a:rPr>
              <a:t>O que podemos aprender com a pandemia para </a:t>
            </a:r>
            <a:r>
              <a:rPr lang="pt-BR" sz="3000" b="1" strike="noStrike" spc="-1" dirty="0">
                <a:solidFill>
                  <a:srgbClr val="C00000"/>
                </a:solidFill>
                <a:latin typeface="Palatino Linotype"/>
                <a:ea typeface="Calibri"/>
              </a:rPr>
              <a:t>iniciar novos processos </a:t>
            </a:r>
            <a:r>
              <a:rPr lang="pt-BR" sz="3000" b="1" strike="noStrike" spc="-1" dirty="0">
                <a:solidFill>
                  <a:srgbClr val="2B3547"/>
                </a:solidFill>
                <a:latin typeface="Palatino Linotype"/>
                <a:ea typeface="Calibri"/>
              </a:rPr>
              <a:t>que contribuam para o nascimento de uma nova realidade educacional?</a:t>
            </a:r>
            <a:endParaRPr lang="pt-BR" sz="30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C9C22391-46D8-4D06-B550-CF0789FB024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5240"/>
            <a:ext cx="9144000" cy="5143320"/>
          </a:xfrm>
          <a:prstGeom prst="rect">
            <a:avLst/>
          </a:prstGeom>
          <a:solidFill>
            <a:schemeClr val="accent1">
              <a:lumMod val="40000"/>
              <a:lumOff val="60000"/>
              <a:alpha val="44000"/>
            </a:scheme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pt-BR" sz="1350" dirty="0">
              <a:solidFill>
                <a:prstClr val="white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418EBC43-D7A0-4ADC-B8C0-C70DFAC0670C}"/>
              </a:ext>
            </a:extLst>
          </p:cNvPr>
          <p:cNvSpPr/>
          <p:nvPr/>
        </p:nvSpPr>
        <p:spPr>
          <a:xfrm>
            <a:off x="79009" y="4285086"/>
            <a:ext cx="713471" cy="797454"/>
          </a:xfrm>
          <a:prstGeom prst="ellipse">
            <a:avLst/>
          </a:prstGeom>
          <a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35145EBD-0540-4A92-89FC-8D24AF64BC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8581" y="-21511"/>
            <a:ext cx="7585762" cy="516501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65" name="TextShape 1"/>
          <p:cNvSpPr txBox="1"/>
          <p:nvPr/>
        </p:nvSpPr>
        <p:spPr>
          <a:xfrm>
            <a:off x="1773360" y="1980000"/>
            <a:ext cx="5596920" cy="6706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no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66" name="Picture 2" descr="Hospital Santa Virginia - Institucional - Notícias"/>
          <p:cNvPicPr/>
          <p:nvPr/>
        </p:nvPicPr>
        <p:blipFill>
          <a:blip r:embed="rId4"/>
          <a:stretch/>
        </p:blipFill>
        <p:spPr>
          <a:xfrm>
            <a:off x="2118900" y="-21511"/>
            <a:ext cx="7105920" cy="28059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67" name="Picture 4" descr="Campanha da Fraternidade 2021 (CNBB)"/>
          <p:cNvPicPr/>
          <p:nvPr/>
        </p:nvPicPr>
        <p:blipFill rotWithShape="1">
          <a:blip r:embed="rId5"/>
          <a:srcRect r="13313"/>
          <a:stretch/>
        </p:blipFill>
        <p:spPr>
          <a:xfrm>
            <a:off x="2099040" y="2591070"/>
            <a:ext cx="7105920" cy="255243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" name="TextShape 1"/>
          <p:cNvSpPr txBox="1"/>
          <p:nvPr/>
        </p:nvSpPr>
        <p:spPr>
          <a:xfrm>
            <a:off x="883440" y="683640"/>
            <a:ext cx="6426000" cy="39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endParaRPr lang="pt-BR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0" name="TextShape 2"/>
          <p:cNvSpPr txBox="1"/>
          <p:nvPr/>
        </p:nvSpPr>
        <p:spPr>
          <a:xfrm>
            <a:off x="693420" y="1507380"/>
            <a:ext cx="4442460" cy="26281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 marL="76320" algn="just">
              <a:lnSpc>
                <a:spcPct val="100000"/>
              </a:lnSpc>
            </a:pPr>
            <a:r>
              <a:rPr lang="pt-BR" sz="3000" strike="noStrike" spc="-1" dirty="0">
                <a:solidFill>
                  <a:srgbClr val="2B3547"/>
                </a:solidFill>
                <a:latin typeface="Nunito" pitchFamily="2" charset="0"/>
                <a:ea typeface="Calibri"/>
                <a:cs typeface="Alef" panose="00000500000000000000" pitchFamily="2" charset="-79"/>
              </a:rPr>
              <a:t>Priorizar a educação supõe empenho concreto que vai desde a família até a elaboração de políticas públicas.</a:t>
            </a:r>
            <a:endParaRPr lang="pt-BR" sz="3000" strike="noStrike" spc="-1" dirty="0">
              <a:solidFill>
                <a:srgbClr val="000000"/>
              </a:solidFill>
              <a:latin typeface="Nunito" pitchFamily="2" charset="0"/>
              <a:cs typeface="Alef" panose="00000500000000000000" pitchFamily="2" charset="-79"/>
            </a:endParaRPr>
          </a:p>
          <a:p>
            <a:pPr marL="76320">
              <a:lnSpc>
                <a:spcPct val="100000"/>
              </a:lnSpc>
            </a:pPr>
            <a:endParaRPr lang="pt-BR" sz="30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31" name="Picture 2"/>
          <p:cNvPicPr/>
          <p:nvPr/>
        </p:nvPicPr>
        <p:blipFill>
          <a:blip r:embed="rId3"/>
          <a:stretch/>
        </p:blipFill>
        <p:spPr>
          <a:xfrm>
            <a:off x="5318760" y="1036680"/>
            <a:ext cx="3261540" cy="26281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CFD0E6BC-FB05-4B82-A2C8-C942092C56A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9144000" cy="5143320"/>
          </a:xfrm>
          <a:prstGeom prst="rect">
            <a:avLst/>
          </a:prstGeom>
          <a:solidFill>
            <a:schemeClr val="accent3">
              <a:lumMod val="75000"/>
              <a:alpha val="44000"/>
            </a:scheme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pt-BR" sz="1350" dirty="0">
              <a:solidFill>
                <a:prstClr val="white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11C6DF87-0002-4FDB-A252-784638E1E326}"/>
              </a:ext>
            </a:extLst>
          </p:cNvPr>
          <p:cNvSpPr/>
          <p:nvPr/>
        </p:nvSpPr>
        <p:spPr>
          <a:xfrm>
            <a:off x="8064747" y="3614941"/>
            <a:ext cx="772026" cy="806397"/>
          </a:xfrm>
          <a:prstGeom prst="ellipse">
            <a:avLst/>
          </a:prstGeom>
          <a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8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42EE0D7C-C516-47A9-8CFF-282675BBE45D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51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850" name="CustomShape 4"/>
          <p:cNvSpPr/>
          <p:nvPr/>
        </p:nvSpPr>
        <p:spPr>
          <a:xfrm rot="865200">
            <a:off x="7894440" y="3753360"/>
            <a:ext cx="788760" cy="998640"/>
          </a:xfrm>
          <a:custGeom>
            <a:avLst/>
            <a:gdLst/>
            <a:ahLst/>
            <a:cxnLst/>
            <a:rect l="l" t="t" r="r" b="b"/>
            <a:pathLst>
              <a:path w="374107" h="473680">
                <a:moveTo>
                  <a:pt x="176658" y="66970"/>
                </a:moveTo>
                <a:cubicBezTo>
                  <a:pt x="153572" y="67387"/>
                  <a:pt x="129367" y="75192"/>
                  <a:pt x="123381" y="100186"/>
                </a:cubicBezTo>
                <a:cubicBezTo>
                  <a:pt x="121189" y="109526"/>
                  <a:pt x="136185" y="110644"/>
                  <a:pt x="138312" y="101743"/>
                </a:cubicBezTo>
                <a:cubicBezTo>
                  <a:pt x="142170" y="85650"/>
                  <a:pt x="160236" y="81660"/>
                  <a:pt x="174400" y="81397"/>
                </a:cubicBezTo>
                <a:cubicBezTo>
                  <a:pt x="183652" y="81221"/>
                  <a:pt x="186458" y="66795"/>
                  <a:pt x="176658" y="66970"/>
                </a:cubicBezTo>
                <a:close/>
                <a:moveTo>
                  <a:pt x="82580" y="302418"/>
                </a:moveTo>
                <a:cubicBezTo>
                  <a:pt x="67276" y="334412"/>
                  <a:pt x="51513" y="366168"/>
                  <a:pt x="35288" y="397680"/>
                </a:cubicBezTo>
                <a:cubicBezTo>
                  <a:pt x="30903" y="406450"/>
                  <a:pt x="44935" y="411054"/>
                  <a:pt x="49167" y="402832"/>
                </a:cubicBezTo>
                <a:cubicBezTo>
                  <a:pt x="65390" y="371320"/>
                  <a:pt x="81155" y="339573"/>
                  <a:pt x="96458" y="307592"/>
                </a:cubicBezTo>
                <a:cubicBezTo>
                  <a:pt x="100689" y="298778"/>
                  <a:pt x="86592" y="294130"/>
                  <a:pt x="82580" y="302418"/>
                </a:cubicBezTo>
                <a:close/>
                <a:moveTo>
                  <a:pt x="245501" y="19218"/>
                </a:moveTo>
                <a:cubicBezTo>
                  <a:pt x="245369" y="19161"/>
                  <a:pt x="245238" y="19118"/>
                  <a:pt x="245085" y="19087"/>
                </a:cubicBezTo>
                <a:cubicBezTo>
                  <a:pt x="245085" y="16399"/>
                  <a:pt x="243549" y="13943"/>
                  <a:pt x="241138" y="12773"/>
                </a:cubicBezTo>
                <a:cubicBezTo>
                  <a:pt x="166156" y="-26692"/>
                  <a:pt x="69008" y="30444"/>
                  <a:pt x="51381" y="113626"/>
                </a:cubicBezTo>
                <a:cubicBezTo>
                  <a:pt x="42304" y="163022"/>
                  <a:pt x="74380" y="208230"/>
                  <a:pt x="111038" y="236951"/>
                </a:cubicBezTo>
                <a:lnTo>
                  <a:pt x="97883" y="263699"/>
                </a:lnTo>
                <a:cubicBezTo>
                  <a:pt x="94836" y="262449"/>
                  <a:pt x="91021" y="259797"/>
                  <a:pt x="87819" y="261266"/>
                </a:cubicBezTo>
                <a:cubicBezTo>
                  <a:pt x="84136" y="260213"/>
                  <a:pt x="80211" y="261805"/>
                  <a:pt x="78304" y="265124"/>
                </a:cubicBezTo>
                <a:cubicBezTo>
                  <a:pt x="50109" y="316165"/>
                  <a:pt x="22046" y="367424"/>
                  <a:pt x="2117" y="422367"/>
                </a:cubicBezTo>
                <a:cubicBezTo>
                  <a:pt x="78" y="424297"/>
                  <a:pt x="-558" y="427291"/>
                  <a:pt x="516" y="429887"/>
                </a:cubicBezTo>
                <a:cubicBezTo>
                  <a:pt x="9724" y="453233"/>
                  <a:pt x="31188" y="469492"/>
                  <a:pt x="56160" y="472048"/>
                </a:cubicBezTo>
                <a:cubicBezTo>
                  <a:pt x="58068" y="472278"/>
                  <a:pt x="59975" y="471759"/>
                  <a:pt x="61510" y="470601"/>
                </a:cubicBezTo>
                <a:cubicBezTo>
                  <a:pt x="64229" y="474085"/>
                  <a:pt x="69249" y="474705"/>
                  <a:pt x="72735" y="471985"/>
                </a:cubicBezTo>
                <a:cubicBezTo>
                  <a:pt x="73678" y="471255"/>
                  <a:pt x="74446" y="470325"/>
                  <a:pt x="74972" y="469264"/>
                </a:cubicBezTo>
                <a:cubicBezTo>
                  <a:pt x="101413" y="411953"/>
                  <a:pt x="127832" y="354649"/>
                  <a:pt x="154251" y="297353"/>
                </a:cubicBezTo>
                <a:cubicBezTo>
                  <a:pt x="155106" y="295702"/>
                  <a:pt x="155216" y="293753"/>
                  <a:pt x="154514" y="292026"/>
                </a:cubicBezTo>
                <a:cubicBezTo>
                  <a:pt x="155785" y="285711"/>
                  <a:pt x="148748" y="284462"/>
                  <a:pt x="143968" y="282620"/>
                </a:cubicBezTo>
                <a:lnTo>
                  <a:pt x="156224" y="259862"/>
                </a:lnTo>
                <a:cubicBezTo>
                  <a:pt x="223357" y="279594"/>
                  <a:pt x="292157" y="231360"/>
                  <a:pt x="310551" y="162934"/>
                </a:cubicBezTo>
                <a:cubicBezTo>
                  <a:pt x="327367" y="101633"/>
                  <a:pt x="298010" y="40661"/>
                  <a:pt x="245501" y="19218"/>
                </a:cubicBezTo>
                <a:close/>
                <a:moveTo>
                  <a:pt x="63089" y="459902"/>
                </a:moveTo>
                <a:cubicBezTo>
                  <a:pt x="61883" y="458595"/>
                  <a:pt x="60239" y="457808"/>
                  <a:pt x="58463" y="457710"/>
                </a:cubicBezTo>
                <a:cubicBezTo>
                  <a:pt x="39980" y="455815"/>
                  <a:pt x="23887" y="444325"/>
                  <a:pt x="16082" y="427476"/>
                </a:cubicBezTo>
                <a:cubicBezTo>
                  <a:pt x="35266" y="374615"/>
                  <a:pt x="61993" y="325154"/>
                  <a:pt x="89091" y="276043"/>
                </a:cubicBezTo>
                <a:cubicBezTo>
                  <a:pt x="105294" y="283512"/>
                  <a:pt x="121781" y="290309"/>
                  <a:pt x="138509" y="296433"/>
                </a:cubicBezTo>
                <a:cubicBezTo>
                  <a:pt x="113296" y="350834"/>
                  <a:pt x="88148" y="405288"/>
                  <a:pt x="63089" y="459792"/>
                </a:cubicBezTo>
                <a:close/>
                <a:moveTo>
                  <a:pt x="130178" y="277380"/>
                </a:moveTo>
                <a:cubicBezTo>
                  <a:pt x="123886" y="274909"/>
                  <a:pt x="117637" y="272337"/>
                  <a:pt x="111410" y="269663"/>
                </a:cubicBezTo>
                <a:lnTo>
                  <a:pt x="123359" y="245304"/>
                </a:lnTo>
                <a:cubicBezTo>
                  <a:pt x="129411" y="248983"/>
                  <a:pt x="135725" y="252202"/>
                  <a:pt x="142258" y="254929"/>
                </a:cubicBezTo>
                <a:close/>
                <a:moveTo>
                  <a:pt x="299106" y="143640"/>
                </a:moveTo>
                <a:cubicBezTo>
                  <a:pt x="279813" y="255587"/>
                  <a:pt x="162692" y="284221"/>
                  <a:pt x="93016" y="196106"/>
                </a:cubicBezTo>
                <a:cubicBezTo>
                  <a:pt x="78787" y="178917"/>
                  <a:pt x="66816" y="157299"/>
                  <a:pt x="65150" y="133204"/>
                </a:cubicBezTo>
                <a:cubicBezTo>
                  <a:pt x="63417" y="108473"/>
                  <a:pt x="76901" y="82252"/>
                  <a:pt x="92226" y="63046"/>
                </a:cubicBezTo>
                <a:cubicBezTo>
                  <a:pt x="128841" y="17267"/>
                  <a:pt x="187861" y="4222"/>
                  <a:pt x="234605" y="27966"/>
                </a:cubicBezTo>
                <a:cubicBezTo>
                  <a:pt x="234451" y="30773"/>
                  <a:pt x="236139" y="33353"/>
                  <a:pt x="238770" y="34325"/>
                </a:cubicBezTo>
                <a:cubicBezTo>
                  <a:pt x="279308" y="50768"/>
                  <a:pt x="305333" y="95384"/>
                  <a:pt x="299106" y="143487"/>
                </a:cubicBezTo>
                <a:close/>
                <a:moveTo>
                  <a:pt x="224147" y="44191"/>
                </a:moveTo>
                <a:cubicBezTo>
                  <a:pt x="223576" y="44070"/>
                  <a:pt x="223006" y="44011"/>
                  <a:pt x="222414" y="44015"/>
                </a:cubicBezTo>
                <a:cubicBezTo>
                  <a:pt x="167844" y="19043"/>
                  <a:pt x="97751" y="45791"/>
                  <a:pt x="88543" y="108736"/>
                </a:cubicBezTo>
                <a:cubicBezTo>
                  <a:pt x="85780" y="129433"/>
                  <a:pt x="93103" y="149538"/>
                  <a:pt x="100865" y="168393"/>
                </a:cubicBezTo>
                <a:cubicBezTo>
                  <a:pt x="117067" y="207704"/>
                  <a:pt x="153790" y="235307"/>
                  <a:pt x="197771" y="227831"/>
                </a:cubicBezTo>
                <a:cubicBezTo>
                  <a:pt x="282904" y="214194"/>
                  <a:pt x="321360" y="69535"/>
                  <a:pt x="224147" y="44191"/>
                </a:cubicBezTo>
                <a:close/>
                <a:moveTo>
                  <a:pt x="265803" y="134936"/>
                </a:moveTo>
                <a:cubicBezTo>
                  <a:pt x="252013" y="214588"/>
                  <a:pt x="159666" y="248944"/>
                  <a:pt x="117966" y="169555"/>
                </a:cubicBezTo>
                <a:cubicBezTo>
                  <a:pt x="103386" y="138181"/>
                  <a:pt x="95011" y="104395"/>
                  <a:pt x="119106" y="75280"/>
                </a:cubicBezTo>
                <a:cubicBezTo>
                  <a:pt x="143530" y="45857"/>
                  <a:pt x="185318" y="43270"/>
                  <a:pt x="218336" y="58310"/>
                </a:cubicBezTo>
                <a:cubicBezTo>
                  <a:pt x="219762" y="58996"/>
                  <a:pt x="221406" y="59165"/>
                  <a:pt x="222941" y="58792"/>
                </a:cubicBezTo>
                <a:cubicBezTo>
                  <a:pt x="256354" y="66619"/>
                  <a:pt x="271218" y="103562"/>
                  <a:pt x="265803" y="134871"/>
                </a:cubicBezTo>
                <a:close/>
                <a:moveTo>
                  <a:pt x="205927" y="69535"/>
                </a:moveTo>
                <a:cubicBezTo>
                  <a:pt x="197574" y="65435"/>
                  <a:pt x="191238" y="78809"/>
                  <a:pt x="199964" y="83085"/>
                </a:cubicBezTo>
                <a:cubicBezTo>
                  <a:pt x="208251" y="87163"/>
                  <a:pt x="214697" y="73811"/>
                  <a:pt x="205927" y="69535"/>
                </a:cubicBezTo>
                <a:close/>
                <a:moveTo>
                  <a:pt x="315550" y="67628"/>
                </a:moveTo>
                <a:cubicBezTo>
                  <a:pt x="336050" y="108495"/>
                  <a:pt x="341662" y="159996"/>
                  <a:pt x="309586" y="196676"/>
                </a:cubicBezTo>
                <a:cubicBezTo>
                  <a:pt x="303185" y="203999"/>
                  <a:pt x="313971" y="213448"/>
                  <a:pt x="320439" y="206103"/>
                </a:cubicBezTo>
                <a:cubicBezTo>
                  <a:pt x="357141" y="164118"/>
                  <a:pt x="351594" y="105974"/>
                  <a:pt x="328069" y="59055"/>
                </a:cubicBezTo>
                <a:cubicBezTo>
                  <a:pt x="323815" y="50614"/>
                  <a:pt x="311428" y="59538"/>
                  <a:pt x="315550" y="67628"/>
                </a:cubicBezTo>
                <a:close/>
                <a:moveTo>
                  <a:pt x="370953" y="127986"/>
                </a:moveTo>
                <a:cubicBezTo>
                  <a:pt x="368169" y="118756"/>
                  <a:pt x="354181" y="124347"/>
                  <a:pt x="356856" y="133138"/>
                </a:cubicBezTo>
                <a:cubicBezTo>
                  <a:pt x="362030" y="149417"/>
                  <a:pt x="359531" y="167165"/>
                  <a:pt x="350037" y="181372"/>
                </a:cubicBezTo>
                <a:cubicBezTo>
                  <a:pt x="344666" y="189331"/>
                  <a:pt x="355409" y="198912"/>
                  <a:pt x="360999" y="190800"/>
                </a:cubicBezTo>
                <a:cubicBezTo>
                  <a:pt x="373804" y="172506"/>
                  <a:pt x="377465" y="149336"/>
                  <a:pt x="370931" y="127986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96A2A265-4A17-45A1-AC78-3F8D70B2AA8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582"/>
            <a:ext cx="9144000" cy="5143320"/>
          </a:xfrm>
          <a:prstGeom prst="rect">
            <a:avLst/>
          </a:prstGeom>
          <a:solidFill>
            <a:schemeClr val="accent3">
              <a:lumMod val="60000"/>
              <a:lumOff val="40000"/>
              <a:alpha val="44000"/>
            </a:scheme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pt-BR" sz="1350" dirty="0">
              <a:solidFill>
                <a:prstClr val="white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847" name="TextShape 1"/>
          <p:cNvSpPr txBox="1"/>
          <p:nvPr/>
        </p:nvSpPr>
        <p:spPr>
          <a:xfrm>
            <a:off x="1188000" y="1506240"/>
            <a:ext cx="6732720" cy="27889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 marL="114480" algn="just">
              <a:lnSpc>
                <a:spcPct val="100000"/>
              </a:lnSpc>
            </a:pPr>
            <a:r>
              <a:rPr lang="pt-BR" sz="28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Pensar um projeto de vida é </a:t>
            </a:r>
            <a:r>
              <a:rPr lang="pt-BR" sz="28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ir além da projeção de uma carreira profissional</a:t>
            </a:r>
            <a:r>
              <a:rPr lang="pt-BR" sz="28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. Um projeto de vida despertado pelos valores da fé e pelo compromisso com o bem comum terá incidência concreta na transformação da sociedade. </a:t>
            </a:r>
            <a:endParaRPr lang="pt-BR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9" name="TextShape 3"/>
          <p:cNvSpPr txBox="1"/>
          <p:nvPr/>
        </p:nvSpPr>
        <p:spPr>
          <a:xfrm>
            <a:off x="660240" y="649800"/>
            <a:ext cx="7367040" cy="39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3300" b="1" strike="noStrike" spc="-1" dirty="0">
                <a:solidFill>
                  <a:srgbClr val="2B3547"/>
                </a:solidFill>
                <a:latin typeface="Amatic SC"/>
                <a:ea typeface="Amatic SC"/>
              </a:rPr>
              <a:t>Um projeto de vida como fonte para uma nova sociedade</a:t>
            </a:r>
            <a:endParaRPr lang="pt-BR" sz="33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6269CCF3-07AA-41E6-824D-461275D5B99E}"/>
              </a:ext>
            </a:extLst>
          </p:cNvPr>
          <p:cNvSpPr/>
          <p:nvPr/>
        </p:nvSpPr>
        <p:spPr>
          <a:xfrm>
            <a:off x="8139548" y="3832902"/>
            <a:ext cx="406265" cy="379677"/>
          </a:xfrm>
          <a:prstGeom prst="ellipse">
            <a:avLst/>
          </a:prstGeom>
          <a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fracture"/>
      </p:transition>
    </mc:Choice>
    <mc:Fallback xmlns="">
      <p:transition spd="slow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id="{66DE3F6B-C887-415A-9713-993BE2A1AB8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9144000" cy="5143320"/>
          </a:xfrm>
          <a:prstGeom prst="rect">
            <a:avLst/>
          </a:prstGeom>
          <a:solidFill>
            <a:schemeClr val="accent1">
              <a:lumMod val="40000"/>
              <a:lumOff val="60000"/>
              <a:alpha val="44000"/>
            </a:scheme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pt-BR" sz="1350" dirty="0">
              <a:solidFill>
                <a:prstClr val="white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855" name="TextShape 1"/>
          <p:cNvSpPr txBox="1"/>
          <p:nvPr/>
        </p:nvSpPr>
        <p:spPr>
          <a:xfrm>
            <a:off x="351000" y="474840"/>
            <a:ext cx="8229240" cy="857160"/>
          </a:xfrm>
          <a:prstGeom prst="rect">
            <a:avLst/>
          </a:prstGeom>
          <a:noFill/>
          <a:ln>
            <a:noFill/>
          </a:ln>
        </p:spPr>
        <p:txBody>
          <a:bodyPr tIns="91440" bIns="9144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3400" b="1" strike="noStrike" spc="-1" dirty="0">
                <a:solidFill>
                  <a:srgbClr val="2B3547"/>
                </a:solidFill>
                <a:latin typeface="Amatic SC"/>
                <a:ea typeface="Amatic SC"/>
              </a:rPr>
              <a:t>Educar para um novo humanismo </a:t>
            </a:r>
            <a:r>
              <a:rPr lang="pt-BR" sz="2000" b="1" strike="noStrike" spc="-1" dirty="0">
                <a:solidFill>
                  <a:srgbClr val="2B3547"/>
                </a:solidFill>
                <a:latin typeface="Amatic SC"/>
                <a:ea typeface="Amatic SC"/>
              </a:rPr>
              <a:t>(TB N 240)</a:t>
            </a:r>
            <a:endParaRPr lang="pt-BR" sz="20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6" name="CustomShape 2"/>
          <p:cNvSpPr/>
          <p:nvPr/>
        </p:nvSpPr>
        <p:spPr>
          <a:xfrm>
            <a:off x="3354840" y="1442520"/>
            <a:ext cx="2400120" cy="2339280"/>
          </a:xfrm>
          <a:prstGeom prst="ellipse">
            <a:avLst/>
          </a:prstGeom>
          <a:solidFill>
            <a:srgbClr val="0198AD">
              <a:alpha val="27000"/>
            </a:srgbClr>
          </a:solidFill>
          <a:ln w="38100" cap="rnd">
            <a:solidFill>
              <a:srgbClr val="00B0F0"/>
            </a:solidFill>
            <a:prstDash val="dash"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pt-BR" sz="2400" b="0" strike="noStrike" spc="-1" dirty="0">
                <a:solidFill>
                  <a:srgbClr val="000000"/>
                </a:solidFill>
                <a:latin typeface="Arial"/>
                <a:ea typeface="Arial"/>
              </a:rPr>
              <a:t>globalizar a esperança</a:t>
            </a:r>
            <a:endParaRPr lang="pt-BR" sz="2400" b="0" strike="noStrike" spc="-1" dirty="0">
              <a:latin typeface="Arial"/>
            </a:endParaRPr>
          </a:p>
        </p:txBody>
      </p:sp>
      <p:sp>
        <p:nvSpPr>
          <p:cNvPr id="857" name="CustomShape 3"/>
          <p:cNvSpPr/>
          <p:nvPr/>
        </p:nvSpPr>
        <p:spPr>
          <a:xfrm>
            <a:off x="1189440" y="1442520"/>
            <a:ext cx="2400120" cy="2339280"/>
          </a:xfrm>
          <a:prstGeom prst="ellipse">
            <a:avLst/>
          </a:prstGeom>
          <a:solidFill>
            <a:srgbClr val="0198AD">
              <a:alpha val="27000"/>
            </a:srgbClr>
          </a:solidFill>
          <a:ln w="38100" cap="rnd">
            <a:solidFill>
              <a:srgbClr val="00B0F0"/>
            </a:solidFill>
            <a:prstDash val="dash"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pt-BR" sz="2400" b="0" strike="noStrike" spc="-1" dirty="0">
                <a:solidFill>
                  <a:srgbClr val="000000"/>
                </a:solidFill>
                <a:latin typeface="Arial"/>
                <a:ea typeface="Arial"/>
              </a:rPr>
              <a:t>promover a cultura do encontro e do diálogo</a:t>
            </a:r>
            <a:endParaRPr lang="pt-BR" sz="2400" b="0" strike="noStrike" spc="-1" dirty="0">
              <a:latin typeface="Arial"/>
            </a:endParaRPr>
          </a:p>
        </p:txBody>
      </p:sp>
      <p:sp>
        <p:nvSpPr>
          <p:cNvPr id="858" name="CustomShape 4"/>
          <p:cNvSpPr/>
          <p:nvPr/>
        </p:nvSpPr>
        <p:spPr>
          <a:xfrm>
            <a:off x="5554080" y="1442520"/>
            <a:ext cx="2600640" cy="2339280"/>
          </a:xfrm>
          <a:prstGeom prst="ellipse">
            <a:avLst/>
          </a:prstGeom>
          <a:solidFill>
            <a:srgbClr val="0198AD">
              <a:alpha val="27000"/>
            </a:srgbClr>
          </a:solidFill>
          <a:ln w="38100" cap="rnd">
            <a:solidFill>
              <a:srgbClr val="00B0F0"/>
            </a:solidFill>
            <a:prstDash val="dash"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91440" bIns="9144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pt-BR" sz="2400" b="0" strike="noStrike" spc="-1" dirty="0">
                <a:solidFill>
                  <a:srgbClr val="000000"/>
                </a:solidFill>
                <a:latin typeface="Arial"/>
                <a:ea typeface="Arial"/>
              </a:rPr>
              <a:t>criar redes de cooperação(inclusão)</a:t>
            </a:r>
            <a:endParaRPr lang="pt-BR" sz="2400" b="0" strike="noStrike" spc="-1" dirty="0">
              <a:latin typeface="Arial"/>
            </a:endParaRPr>
          </a:p>
        </p:txBody>
      </p:sp>
      <p:sp>
        <p:nvSpPr>
          <p:cNvPr id="859" name="TextShape 5"/>
          <p:cNvSpPr txBox="1"/>
          <p:nvPr/>
        </p:nvSpPr>
        <p:spPr>
          <a:xfrm>
            <a:off x="4297680" y="4860000"/>
            <a:ext cx="548280" cy="283320"/>
          </a:xfrm>
          <a:prstGeom prst="rect">
            <a:avLst/>
          </a:prstGeom>
          <a:noFill/>
          <a:ln>
            <a:noFill/>
          </a:ln>
        </p:spPr>
        <p:txBody>
          <a:bodyPr tIns="91440" bIns="91440">
            <a:noAutofit/>
          </a:bodyPr>
          <a:lstStyle/>
          <a:p>
            <a:pPr algn="ctr">
              <a:lnSpc>
                <a:spcPct val="100000"/>
              </a:lnSpc>
            </a:pPr>
            <a:fld id="{ABBE6578-E269-4CAF-8B48-0790ACD474F2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52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860" name="CustomShape 6"/>
          <p:cNvSpPr/>
          <p:nvPr/>
        </p:nvSpPr>
        <p:spPr>
          <a:xfrm rot="865200">
            <a:off x="7894440" y="3753360"/>
            <a:ext cx="788760" cy="998640"/>
          </a:xfrm>
          <a:custGeom>
            <a:avLst/>
            <a:gdLst/>
            <a:ahLst/>
            <a:cxnLst/>
            <a:rect l="l" t="t" r="r" b="b"/>
            <a:pathLst>
              <a:path w="374107" h="473680">
                <a:moveTo>
                  <a:pt x="176658" y="66970"/>
                </a:moveTo>
                <a:cubicBezTo>
                  <a:pt x="153572" y="67387"/>
                  <a:pt x="129367" y="75192"/>
                  <a:pt x="123381" y="100186"/>
                </a:cubicBezTo>
                <a:cubicBezTo>
                  <a:pt x="121189" y="109526"/>
                  <a:pt x="136185" y="110644"/>
                  <a:pt x="138312" y="101743"/>
                </a:cubicBezTo>
                <a:cubicBezTo>
                  <a:pt x="142170" y="85650"/>
                  <a:pt x="160236" y="81660"/>
                  <a:pt x="174400" y="81397"/>
                </a:cubicBezTo>
                <a:cubicBezTo>
                  <a:pt x="183652" y="81221"/>
                  <a:pt x="186458" y="66795"/>
                  <a:pt x="176658" y="66970"/>
                </a:cubicBezTo>
                <a:close/>
                <a:moveTo>
                  <a:pt x="82580" y="302418"/>
                </a:moveTo>
                <a:cubicBezTo>
                  <a:pt x="67276" y="334412"/>
                  <a:pt x="51513" y="366168"/>
                  <a:pt x="35288" y="397680"/>
                </a:cubicBezTo>
                <a:cubicBezTo>
                  <a:pt x="30903" y="406450"/>
                  <a:pt x="44935" y="411054"/>
                  <a:pt x="49167" y="402832"/>
                </a:cubicBezTo>
                <a:cubicBezTo>
                  <a:pt x="65390" y="371320"/>
                  <a:pt x="81155" y="339573"/>
                  <a:pt x="96458" y="307592"/>
                </a:cubicBezTo>
                <a:cubicBezTo>
                  <a:pt x="100689" y="298778"/>
                  <a:pt x="86592" y="294130"/>
                  <a:pt x="82580" y="302418"/>
                </a:cubicBezTo>
                <a:close/>
                <a:moveTo>
                  <a:pt x="245501" y="19218"/>
                </a:moveTo>
                <a:cubicBezTo>
                  <a:pt x="245369" y="19161"/>
                  <a:pt x="245238" y="19118"/>
                  <a:pt x="245085" y="19087"/>
                </a:cubicBezTo>
                <a:cubicBezTo>
                  <a:pt x="245085" y="16399"/>
                  <a:pt x="243549" y="13943"/>
                  <a:pt x="241138" y="12773"/>
                </a:cubicBezTo>
                <a:cubicBezTo>
                  <a:pt x="166156" y="-26692"/>
                  <a:pt x="69008" y="30444"/>
                  <a:pt x="51381" y="113626"/>
                </a:cubicBezTo>
                <a:cubicBezTo>
                  <a:pt x="42304" y="163022"/>
                  <a:pt x="74380" y="208230"/>
                  <a:pt x="111038" y="236951"/>
                </a:cubicBezTo>
                <a:lnTo>
                  <a:pt x="97883" y="263699"/>
                </a:lnTo>
                <a:cubicBezTo>
                  <a:pt x="94836" y="262449"/>
                  <a:pt x="91021" y="259797"/>
                  <a:pt x="87819" y="261266"/>
                </a:cubicBezTo>
                <a:cubicBezTo>
                  <a:pt x="84136" y="260213"/>
                  <a:pt x="80211" y="261805"/>
                  <a:pt x="78304" y="265124"/>
                </a:cubicBezTo>
                <a:cubicBezTo>
                  <a:pt x="50109" y="316165"/>
                  <a:pt x="22046" y="367424"/>
                  <a:pt x="2117" y="422367"/>
                </a:cubicBezTo>
                <a:cubicBezTo>
                  <a:pt x="78" y="424297"/>
                  <a:pt x="-558" y="427291"/>
                  <a:pt x="516" y="429887"/>
                </a:cubicBezTo>
                <a:cubicBezTo>
                  <a:pt x="9724" y="453233"/>
                  <a:pt x="31188" y="469492"/>
                  <a:pt x="56160" y="472048"/>
                </a:cubicBezTo>
                <a:cubicBezTo>
                  <a:pt x="58068" y="472278"/>
                  <a:pt x="59975" y="471759"/>
                  <a:pt x="61510" y="470601"/>
                </a:cubicBezTo>
                <a:cubicBezTo>
                  <a:pt x="64229" y="474085"/>
                  <a:pt x="69249" y="474705"/>
                  <a:pt x="72735" y="471985"/>
                </a:cubicBezTo>
                <a:cubicBezTo>
                  <a:pt x="73678" y="471255"/>
                  <a:pt x="74446" y="470325"/>
                  <a:pt x="74972" y="469264"/>
                </a:cubicBezTo>
                <a:cubicBezTo>
                  <a:pt x="101413" y="411953"/>
                  <a:pt x="127832" y="354649"/>
                  <a:pt x="154251" y="297353"/>
                </a:cubicBezTo>
                <a:cubicBezTo>
                  <a:pt x="155106" y="295702"/>
                  <a:pt x="155216" y="293753"/>
                  <a:pt x="154514" y="292026"/>
                </a:cubicBezTo>
                <a:cubicBezTo>
                  <a:pt x="155785" y="285711"/>
                  <a:pt x="148748" y="284462"/>
                  <a:pt x="143968" y="282620"/>
                </a:cubicBezTo>
                <a:lnTo>
                  <a:pt x="156224" y="259862"/>
                </a:lnTo>
                <a:cubicBezTo>
                  <a:pt x="223357" y="279594"/>
                  <a:pt x="292157" y="231360"/>
                  <a:pt x="310551" y="162934"/>
                </a:cubicBezTo>
                <a:cubicBezTo>
                  <a:pt x="327367" y="101633"/>
                  <a:pt x="298010" y="40661"/>
                  <a:pt x="245501" y="19218"/>
                </a:cubicBezTo>
                <a:close/>
                <a:moveTo>
                  <a:pt x="63089" y="459902"/>
                </a:moveTo>
                <a:cubicBezTo>
                  <a:pt x="61883" y="458595"/>
                  <a:pt x="60239" y="457808"/>
                  <a:pt x="58463" y="457710"/>
                </a:cubicBezTo>
                <a:cubicBezTo>
                  <a:pt x="39980" y="455815"/>
                  <a:pt x="23887" y="444325"/>
                  <a:pt x="16082" y="427476"/>
                </a:cubicBezTo>
                <a:cubicBezTo>
                  <a:pt x="35266" y="374615"/>
                  <a:pt x="61993" y="325154"/>
                  <a:pt x="89091" y="276043"/>
                </a:cubicBezTo>
                <a:cubicBezTo>
                  <a:pt x="105294" y="283512"/>
                  <a:pt x="121781" y="290309"/>
                  <a:pt x="138509" y="296433"/>
                </a:cubicBezTo>
                <a:cubicBezTo>
                  <a:pt x="113296" y="350834"/>
                  <a:pt x="88148" y="405288"/>
                  <a:pt x="63089" y="459792"/>
                </a:cubicBezTo>
                <a:close/>
                <a:moveTo>
                  <a:pt x="130178" y="277380"/>
                </a:moveTo>
                <a:cubicBezTo>
                  <a:pt x="123886" y="274909"/>
                  <a:pt x="117637" y="272337"/>
                  <a:pt x="111410" y="269663"/>
                </a:cubicBezTo>
                <a:lnTo>
                  <a:pt x="123359" y="245304"/>
                </a:lnTo>
                <a:cubicBezTo>
                  <a:pt x="129411" y="248983"/>
                  <a:pt x="135725" y="252202"/>
                  <a:pt x="142258" y="254929"/>
                </a:cubicBezTo>
                <a:close/>
                <a:moveTo>
                  <a:pt x="299106" y="143640"/>
                </a:moveTo>
                <a:cubicBezTo>
                  <a:pt x="279813" y="255587"/>
                  <a:pt x="162692" y="284221"/>
                  <a:pt x="93016" y="196106"/>
                </a:cubicBezTo>
                <a:cubicBezTo>
                  <a:pt x="78787" y="178917"/>
                  <a:pt x="66816" y="157299"/>
                  <a:pt x="65150" y="133204"/>
                </a:cubicBezTo>
                <a:cubicBezTo>
                  <a:pt x="63417" y="108473"/>
                  <a:pt x="76901" y="82252"/>
                  <a:pt x="92226" y="63046"/>
                </a:cubicBezTo>
                <a:cubicBezTo>
                  <a:pt x="128841" y="17267"/>
                  <a:pt x="187861" y="4222"/>
                  <a:pt x="234605" y="27966"/>
                </a:cubicBezTo>
                <a:cubicBezTo>
                  <a:pt x="234451" y="30773"/>
                  <a:pt x="236139" y="33353"/>
                  <a:pt x="238770" y="34325"/>
                </a:cubicBezTo>
                <a:cubicBezTo>
                  <a:pt x="279308" y="50768"/>
                  <a:pt x="305333" y="95384"/>
                  <a:pt x="299106" y="143487"/>
                </a:cubicBezTo>
                <a:close/>
                <a:moveTo>
                  <a:pt x="224147" y="44191"/>
                </a:moveTo>
                <a:cubicBezTo>
                  <a:pt x="223576" y="44070"/>
                  <a:pt x="223006" y="44011"/>
                  <a:pt x="222414" y="44015"/>
                </a:cubicBezTo>
                <a:cubicBezTo>
                  <a:pt x="167844" y="19043"/>
                  <a:pt x="97751" y="45791"/>
                  <a:pt x="88543" y="108736"/>
                </a:cubicBezTo>
                <a:cubicBezTo>
                  <a:pt x="85780" y="129433"/>
                  <a:pt x="93103" y="149538"/>
                  <a:pt x="100865" y="168393"/>
                </a:cubicBezTo>
                <a:cubicBezTo>
                  <a:pt x="117067" y="207704"/>
                  <a:pt x="153790" y="235307"/>
                  <a:pt x="197771" y="227831"/>
                </a:cubicBezTo>
                <a:cubicBezTo>
                  <a:pt x="282904" y="214194"/>
                  <a:pt x="321360" y="69535"/>
                  <a:pt x="224147" y="44191"/>
                </a:cubicBezTo>
                <a:close/>
                <a:moveTo>
                  <a:pt x="265803" y="134936"/>
                </a:moveTo>
                <a:cubicBezTo>
                  <a:pt x="252013" y="214588"/>
                  <a:pt x="159666" y="248944"/>
                  <a:pt x="117966" y="169555"/>
                </a:cubicBezTo>
                <a:cubicBezTo>
                  <a:pt x="103386" y="138181"/>
                  <a:pt x="95011" y="104395"/>
                  <a:pt x="119106" y="75280"/>
                </a:cubicBezTo>
                <a:cubicBezTo>
                  <a:pt x="143530" y="45857"/>
                  <a:pt x="185318" y="43270"/>
                  <a:pt x="218336" y="58310"/>
                </a:cubicBezTo>
                <a:cubicBezTo>
                  <a:pt x="219762" y="58996"/>
                  <a:pt x="221406" y="59165"/>
                  <a:pt x="222941" y="58792"/>
                </a:cubicBezTo>
                <a:cubicBezTo>
                  <a:pt x="256354" y="66619"/>
                  <a:pt x="271218" y="103562"/>
                  <a:pt x="265803" y="134871"/>
                </a:cubicBezTo>
                <a:close/>
                <a:moveTo>
                  <a:pt x="205927" y="69535"/>
                </a:moveTo>
                <a:cubicBezTo>
                  <a:pt x="197574" y="65435"/>
                  <a:pt x="191238" y="78809"/>
                  <a:pt x="199964" y="83085"/>
                </a:cubicBezTo>
                <a:cubicBezTo>
                  <a:pt x="208251" y="87163"/>
                  <a:pt x="214697" y="73811"/>
                  <a:pt x="205927" y="69535"/>
                </a:cubicBezTo>
                <a:close/>
                <a:moveTo>
                  <a:pt x="315550" y="67628"/>
                </a:moveTo>
                <a:cubicBezTo>
                  <a:pt x="336050" y="108495"/>
                  <a:pt x="341662" y="159996"/>
                  <a:pt x="309586" y="196676"/>
                </a:cubicBezTo>
                <a:cubicBezTo>
                  <a:pt x="303185" y="203999"/>
                  <a:pt x="313971" y="213448"/>
                  <a:pt x="320439" y="206103"/>
                </a:cubicBezTo>
                <a:cubicBezTo>
                  <a:pt x="357141" y="164118"/>
                  <a:pt x="351594" y="105974"/>
                  <a:pt x="328069" y="59055"/>
                </a:cubicBezTo>
                <a:cubicBezTo>
                  <a:pt x="323815" y="50614"/>
                  <a:pt x="311428" y="59538"/>
                  <a:pt x="315550" y="67628"/>
                </a:cubicBezTo>
                <a:close/>
                <a:moveTo>
                  <a:pt x="370953" y="127986"/>
                </a:moveTo>
                <a:cubicBezTo>
                  <a:pt x="368169" y="118756"/>
                  <a:pt x="354181" y="124347"/>
                  <a:pt x="356856" y="133138"/>
                </a:cubicBezTo>
                <a:cubicBezTo>
                  <a:pt x="362030" y="149417"/>
                  <a:pt x="359531" y="167165"/>
                  <a:pt x="350037" y="181372"/>
                </a:cubicBezTo>
                <a:cubicBezTo>
                  <a:pt x="344666" y="189331"/>
                  <a:pt x="355409" y="198912"/>
                  <a:pt x="360999" y="190800"/>
                </a:cubicBezTo>
                <a:cubicBezTo>
                  <a:pt x="373804" y="172506"/>
                  <a:pt x="377465" y="149336"/>
                  <a:pt x="370931" y="127986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endParaRPr lang="pt-BR" dirty="0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7BE24846-6DD7-4C5C-8936-82695331DED1}"/>
              </a:ext>
            </a:extLst>
          </p:cNvPr>
          <p:cNvSpPr/>
          <p:nvPr/>
        </p:nvSpPr>
        <p:spPr>
          <a:xfrm>
            <a:off x="8130687" y="3846600"/>
            <a:ext cx="407706" cy="367260"/>
          </a:xfrm>
          <a:prstGeom prst="ellipse">
            <a:avLst/>
          </a:prstGeom>
          <a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pt-BR" dirty="0"/>
          </a:p>
        </p:txBody>
      </p:sp>
    </p:spTree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3250">
        <p15:prstTrans prst="origami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7" dur="500" fill="hold"/>
                                        <p:tgtEl>
                                          <p:spTgt spid="8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8" dur="500" fill="hold"/>
                                        <p:tgtEl>
                                          <p:spTgt spid="8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13" dur="500" fill="hold"/>
                                        <p:tgtEl>
                                          <p:spTgt spid="8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14" dur="500" fill="hold"/>
                                        <p:tgtEl>
                                          <p:spTgt spid="8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19" dur="500" fill="hold"/>
                                        <p:tgtEl>
                                          <p:spTgt spid="8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20" dur="500" fill="hold"/>
                                        <p:tgtEl>
                                          <p:spTgt spid="8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6" name="TextShape 2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CE5322B6-6116-44E7-B5A9-C4ADA26E2B18}" type="slidenum">
              <a:rPr lang="pt-BR" sz="1500" b="1" strike="noStrike" spc="-1">
                <a:solidFill>
                  <a:srgbClr val="EDF0EB"/>
                </a:solidFill>
                <a:latin typeface="Amatic SC"/>
                <a:ea typeface="Amatic SC"/>
              </a:rPr>
              <a:t>53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50C11F4F-1770-4769-9756-FC59D8AC45B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4860" y="174210"/>
            <a:ext cx="8760960" cy="4749360"/>
          </a:xfrm>
          <a:prstGeom prst="rect">
            <a:avLst/>
          </a:prstGeom>
          <a:solidFill>
            <a:schemeClr val="bg1">
              <a:alpha val="44000"/>
            </a:scheme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pt-BR" sz="1350" dirty="0">
              <a:solidFill>
                <a:prstClr val="white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865" name="TextShape 1"/>
          <p:cNvSpPr txBox="1"/>
          <p:nvPr/>
        </p:nvSpPr>
        <p:spPr>
          <a:xfrm>
            <a:off x="397080" y="1722600"/>
            <a:ext cx="4146480" cy="141696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pt-BR" sz="4500" b="1" strike="noStrike" spc="-1" dirty="0">
                <a:solidFill>
                  <a:srgbClr val="AEE25A"/>
                </a:solidFill>
                <a:latin typeface="Amatic SC"/>
                <a:ea typeface="Amatic SC"/>
              </a:rPr>
              <a:t>“Iniciar processos”</a:t>
            </a:r>
            <a:br>
              <a:rPr dirty="0"/>
            </a:br>
            <a:r>
              <a:rPr lang="pt-BR" sz="1800" b="1" strike="noStrike" spc="-1" dirty="0">
                <a:solidFill>
                  <a:srgbClr val="AEE25A"/>
                </a:solidFill>
                <a:latin typeface="Amatic SC"/>
                <a:ea typeface="Amatic SC"/>
              </a:rPr>
              <a:t>(TB 245)</a:t>
            </a:r>
            <a:endParaRPr lang="pt-BR" sz="18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67" name="Picture 2" descr="Canvas da Comunicação Interna: como aplicá-lo no seu dia a dia -  SimplificaCI"/>
          <p:cNvPicPr/>
          <p:nvPr/>
        </p:nvPicPr>
        <p:blipFill>
          <a:blip r:embed="rId4"/>
          <a:stretch/>
        </p:blipFill>
        <p:spPr>
          <a:xfrm>
            <a:off x="4524120" y="1182960"/>
            <a:ext cx="3880080" cy="24955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B0E6A05E-3839-418B-BA45-E6CD12B9AA0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43560" y="1182960"/>
            <a:ext cx="3860640" cy="2495520"/>
          </a:xfrm>
          <a:prstGeom prst="rect">
            <a:avLst/>
          </a:prstGeom>
          <a:solidFill>
            <a:schemeClr val="accent1">
              <a:lumMod val="40000"/>
              <a:lumOff val="60000"/>
              <a:alpha val="44000"/>
            </a:scheme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pt-BR" sz="1350" dirty="0">
              <a:solidFill>
                <a:prstClr val="white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1C2747B8-DC8B-4A7B-ADFE-D12F4E71A6D6}"/>
              </a:ext>
            </a:extLst>
          </p:cNvPr>
          <p:cNvSpPr/>
          <p:nvPr/>
        </p:nvSpPr>
        <p:spPr>
          <a:xfrm>
            <a:off x="660535" y="581196"/>
            <a:ext cx="535806" cy="432264"/>
          </a:xfrm>
          <a:prstGeom prst="ellipse">
            <a:avLst/>
          </a:prstGeom>
          <a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2000" r="-2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2" name="TextShape 1"/>
          <p:cNvSpPr txBox="1"/>
          <p:nvPr/>
        </p:nvSpPr>
        <p:spPr>
          <a:xfrm>
            <a:off x="1841160" y="2211660"/>
            <a:ext cx="3686760" cy="16801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5000" b="1" i="0" u="none" strike="noStrike" kern="1200" cap="none" spc="-1" normalizeH="0" baseline="0" noProof="0" dirty="0">
                <a:ln>
                  <a:noFill/>
                </a:ln>
                <a:solidFill>
                  <a:srgbClr val="2B3547"/>
                </a:solidFill>
                <a:effectLst/>
                <a:uLnTx/>
                <a:uFillTx/>
                <a:latin typeface="Amatic SC"/>
                <a:ea typeface="Amatic SC"/>
                <a:cs typeface="DejaVu Sans"/>
              </a:rPr>
              <a:t>Muito obrigado pela atenção!</a:t>
            </a:r>
            <a:endParaRPr kumimoji="0" lang="pt-BR" sz="5000" b="0" i="0" u="none" strike="noStrike" kern="120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pic>
        <p:nvPicPr>
          <p:cNvPr id="883" name="Picture 4" descr="Campanha da Fraternidade 2022"/>
          <p:cNvPicPr/>
          <p:nvPr/>
        </p:nvPicPr>
        <p:blipFill>
          <a:blip r:embed="rId3"/>
          <a:stretch/>
        </p:blipFill>
        <p:spPr>
          <a:xfrm>
            <a:off x="0" y="3985260"/>
            <a:ext cx="944880" cy="12432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39BCF7D8-C291-4D36-A9AD-F447450C1DF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226" t="15521" r="10625" b="52604"/>
          <a:stretch/>
        </p:blipFill>
        <p:spPr>
          <a:xfrm>
            <a:off x="5817480" y="1337220"/>
            <a:ext cx="1977543" cy="24688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CCE028B9-BC46-4C0B-86D8-5063DAD6F0A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9144000" cy="5143320"/>
          </a:xfrm>
          <a:prstGeom prst="rect">
            <a:avLst/>
          </a:prstGeom>
          <a:solidFill>
            <a:schemeClr val="tx2">
              <a:lumMod val="20000"/>
              <a:lumOff val="80000"/>
              <a:alpha val="44000"/>
            </a:schemeClr>
          </a:solidFill>
          <a:ln w="19050">
            <a:solidFill>
              <a:srgbClr val="C00000"/>
            </a:solidFill>
            <a:prstDash val="lgDashDot"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pt-BR" sz="1350" dirty="0">
              <a:solidFill>
                <a:prstClr val="white"/>
              </a:solidFill>
              <a:ea typeface="ＭＳ Ｐゴシック" panose="020B0600070205080204" pitchFamily="34" charset="-128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TextShape 1"/>
          <p:cNvSpPr txBox="1"/>
          <p:nvPr/>
        </p:nvSpPr>
        <p:spPr>
          <a:xfrm>
            <a:off x="2278380" y="722520"/>
            <a:ext cx="3026940" cy="7786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4800" b="1" strike="noStrike" spc="-1" dirty="0">
                <a:solidFill>
                  <a:srgbClr val="2B3547"/>
                </a:solidFill>
                <a:latin typeface="Amatic SC"/>
                <a:ea typeface="Amatic SC"/>
              </a:rPr>
              <a:t>Objetivo Geral </a:t>
            </a:r>
            <a:endParaRPr lang="pt-BR" sz="4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3" name="TextShape 2"/>
          <p:cNvSpPr txBox="1"/>
          <p:nvPr/>
        </p:nvSpPr>
        <p:spPr>
          <a:xfrm>
            <a:off x="2171700" y="1691640"/>
            <a:ext cx="5699760" cy="24003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 algn="just">
              <a:lnSpc>
                <a:spcPct val="100000"/>
              </a:lnSpc>
            </a:pPr>
            <a:r>
              <a:rPr lang="pt-BR" sz="28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Promover diálogos a partir da </a:t>
            </a:r>
            <a:r>
              <a:rPr lang="pt-BR" sz="28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realidade educativa do Brasil</a:t>
            </a:r>
            <a:r>
              <a:rPr lang="pt-BR" sz="28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, à luz da fé cristã, propondo caminhos em favor do humanismo </a:t>
            </a:r>
            <a:endParaRPr lang="pt-BR" sz="28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00000"/>
              </a:lnSpc>
            </a:pPr>
            <a:r>
              <a:rPr lang="pt-BR" sz="28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integral e solidário.</a:t>
            </a:r>
            <a:endParaRPr lang="pt-BR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4" name="TextShape 3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3A03836C-60DA-4A38-8A59-BBF92484D9AC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6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575" name="CustomShape 4"/>
          <p:cNvSpPr/>
          <p:nvPr/>
        </p:nvSpPr>
        <p:spPr>
          <a:xfrm>
            <a:off x="7742160" y="3714120"/>
            <a:ext cx="1019880" cy="978840"/>
          </a:xfrm>
          <a:custGeom>
            <a:avLst/>
            <a:gdLst/>
            <a:ahLst/>
            <a:cxnLst/>
            <a:rect l="l" t="t" r="r" b="b"/>
            <a:pathLst>
              <a:path w="483555" h="464158">
                <a:moveTo>
                  <a:pt x="14370" y="311041"/>
                </a:moveTo>
                <a:cubicBezTo>
                  <a:pt x="13208" y="301350"/>
                  <a:pt x="-977" y="305669"/>
                  <a:pt x="54" y="314812"/>
                </a:cubicBezTo>
                <a:cubicBezTo>
                  <a:pt x="5227" y="358303"/>
                  <a:pt x="26648" y="398237"/>
                  <a:pt x="59995" y="426627"/>
                </a:cubicBezTo>
                <a:cubicBezTo>
                  <a:pt x="67120" y="432700"/>
                  <a:pt x="77995" y="422132"/>
                  <a:pt x="70957" y="416191"/>
                </a:cubicBezTo>
                <a:cubicBezTo>
                  <a:pt x="39408" y="389609"/>
                  <a:pt x="19172" y="352011"/>
                  <a:pt x="14370" y="311041"/>
                </a:cubicBezTo>
                <a:close/>
                <a:moveTo>
                  <a:pt x="336880" y="193437"/>
                </a:moveTo>
                <a:cubicBezTo>
                  <a:pt x="334468" y="176358"/>
                  <a:pt x="330303" y="159652"/>
                  <a:pt x="314956" y="149764"/>
                </a:cubicBezTo>
                <a:cubicBezTo>
                  <a:pt x="298096" y="138801"/>
                  <a:pt x="277136" y="134943"/>
                  <a:pt x="257360" y="135008"/>
                </a:cubicBezTo>
                <a:cubicBezTo>
                  <a:pt x="255101" y="134929"/>
                  <a:pt x="252953" y="136054"/>
                  <a:pt x="251747" y="137968"/>
                </a:cubicBezTo>
                <a:cubicBezTo>
                  <a:pt x="221513" y="140051"/>
                  <a:pt x="199128" y="156275"/>
                  <a:pt x="191038" y="185961"/>
                </a:cubicBezTo>
                <a:cubicBezTo>
                  <a:pt x="183255" y="213827"/>
                  <a:pt x="188122" y="259386"/>
                  <a:pt x="214563" y="276487"/>
                </a:cubicBezTo>
                <a:cubicBezTo>
                  <a:pt x="227893" y="285104"/>
                  <a:pt x="244534" y="286924"/>
                  <a:pt x="260056" y="287450"/>
                </a:cubicBezTo>
                <a:cubicBezTo>
                  <a:pt x="318003" y="291681"/>
                  <a:pt x="344510" y="246232"/>
                  <a:pt x="336880" y="193437"/>
                </a:cubicBezTo>
                <a:close/>
                <a:moveTo>
                  <a:pt x="264069" y="272760"/>
                </a:moveTo>
                <a:cubicBezTo>
                  <a:pt x="249708" y="272541"/>
                  <a:pt x="231906" y="271489"/>
                  <a:pt x="220220" y="261973"/>
                </a:cubicBezTo>
                <a:cubicBezTo>
                  <a:pt x="207306" y="251384"/>
                  <a:pt x="204105" y="231060"/>
                  <a:pt x="203031" y="215384"/>
                </a:cubicBezTo>
                <a:cubicBezTo>
                  <a:pt x="201891" y="198787"/>
                  <a:pt x="204719" y="181006"/>
                  <a:pt x="216185" y="168158"/>
                </a:cubicBezTo>
                <a:cubicBezTo>
                  <a:pt x="228003" y="154806"/>
                  <a:pt x="245827" y="152811"/>
                  <a:pt x="262600" y="152000"/>
                </a:cubicBezTo>
                <a:cubicBezTo>
                  <a:pt x="264244" y="151908"/>
                  <a:pt x="265801" y="151241"/>
                  <a:pt x="266985" y="150114"/>
                </a:cubicBezTo>
                <a:cubicBezTo>
                  <a:pt x="282332" y="151211"/>
                  <a:pt x="299411" y="155376"/>
                  <a:pt x="310373" y="165264"/>
                </a:cubicBezTo>
                <a:cubicBezTo>
                  <a:pt x="321840" y="175613"/>
                  <a:pt x="323133" y="196616"/>
                  <a:pt x="323353" y="210999"/>
                </a:cubicBezTo>
                <a:cubicBezTo>
                  <a:pt x="324142" y="248709"/>
                  <a:pt x="303270" y="274580"/>
                  <a:pt x="264069" y="272760"/>
                </a:cubicBezTo>
                <a:close/>
                <a:moveTo>
                  <a:pt x="271414" y="444539"/>
                </a:moveTo>
                <a:cubicBezTo>
                  <a:pt x="155805" y="470849"/>
                  <a:pt x="43398" y="380958"/>
                  <a:pt x="44122" y="262302"/>
                </a:cubicBezTo>
                <a:cubicBezTo>
                  <a:pt x="44122" y="252502"/>
                  <a:pt x="29498" y="252809"/>
                  <a:pt x="29520" y="262302"/>
                </a:cubicBezTo>
                <a:cubicBezTo>
                  <a:pt x="28555" y="390561"/>
                  <a:pt x="149250" y="487818"/>
                  <a:pt x="274351" y="459097"/>
                </a:cubicBezTo>
                <a:cubicBezTo>
                  <a:pt x="283428" y="457080"/>
                  <a:pt x="280951" y="442456"/>
                  <a:pt x="271414" y="444539"/>
                </a:cubicBezTo>
                <a:close/>
                <a:moveTo>
                  <a:pt x="348150" y="137245"/>
                </a:moveTo>
                <a:cubicBezTo>
                  <a:pt x="328966" y="112294"/>
                  <a:pt x="296408" y="110321"/>
                  <a:pt x="267029" y="109072"/>
                </a:cubicBezTo>
                <a:cubicBezTo>
                  <a:pt x="257952" y="108677"/>
                  <a:pt x="254291" y="123344"/>
                  <a:pt x="263871" y="123739"/>
                </a:cubicBezTo>
                <a:cubicBezTo>
                  <a:pt x="287988" y="124770"/>
                  <a:pt x="319450" y="125011"/>
                  <a:pt x="335521" y="145817"/>
                </a:cubicBezTo>
                <a:cubicBezTo>
                  <a:pt x="353389" y="169123"/>
                  <a:pt x="358585" y="191859"/>
                  <a:pt x="354222" y="220580"/>
                </a:cubicBezTo>
                <a:cubicBezTo>
                  <a:pt x="353104" y="230270"/>
                  <a:pt x="367553" y="232309"/>
                  <a:pt x="368627" y="222926"/>
                </a:cubicBezTo>
                <a:cubicBezTo>
                  <a:pt x="370447" y="207184"/>
                  <a:pt x="371850" y="191530"/>
                  <a:pt x="367575" y="176029"/>
                </a:cubicBezTo>
                <a:cubicBezTo>
                  <a:pt x="363562" y="162000"/>
                  <a:pt x="356985" y="148845"/>
                  <a:pt x="348128" y="137245"/>
                </a:cubicBezTo>
                <a:close/>
                <a:moveTo>
                  <a:pt x="311163" y="288349"/>
                </a:moveTo>
                <a:cubicBezTo>
                  <a:pt x="301867" y="288349"/>
                  <a:pt x="302064" y="303148"/>
                  <a:pt x="311777" y="303148"/>
                </a:cubicBezTo>
                <a:cubicBezTo>
                  <a:pt x="321029" y="303148"/>
                  <a:pt x="320853" y="288349"/>
                  <a:pt x="311163" y="288349"/>
                </a:cubicBezTo>
                <a:close/>
                <a:moveTo>
                  <a:pt x="475115" y="172784"/>
                </a:moveTo>
                <a:cubicBezTo>
                  <a:pt x="469348" y="169934"/>
                  <a:pt x="460294" y="171272"/>
                  <a:pt x="454242" y="171140"/>
                </a:cubicBezTo>
                <a:lnTo>
                  <a:pt x="430717" y="170680"/>
                </a:lnTo>
                <a:cubicBezTo>
                  <a:pt x="430652" y="154344"/>
                  <a:pt x="425916" y="138365"/>
                  <a:pt x="417058" y="124638"/>
                </a:cubicBezTo>
                <a:lnTo>
                  <a:pt x="428547" y="109839"/>
                </a:lnTo>
                <a:cubicBezTo>
                  <a:pt x="432318" y="105016"/>
                  <a:pt x="437448" y="99622"/>
                  <a:pt x="438369" y="93220"/>
                </a:cubicBezTo>
                <a:cubicBezTo>
                  <a:pt x="440101" y="81227"/>
                  <a:pt x="425938" y="71405"/>
                  <a:pt x="417957" y="64828"/>
                </a:cubicBezTo>
                <a:cubicBezTo>
                  <a:pt x="409187" y="57637"/>
                  <a:pt x="394805" y="44855"/>
                  <a:pt x="382878" y="44219"/>
                </a:cubicBezTo>
                <a:cubicBezTo>
                  <a:pt x="370951" y="43583"/>
                  <a:pt x="362379" y="58799"/>
                  <a:pt x="355867" y="68643"/>
                </a:cubicBezTo>
                <a:cubicBezTo>
                  <a:pt x="343874" y="58630"/>
                  <a:pt x="329777" y="51469"/>
                  <a:pt x="314627" y="47705"/>
                </a:cubicBezTo>
                <a:cubicBezTo>
                  <a:pt x="314627" y="35186"/>
                  <a:pt x="315635" y="19882"/>
                  <a:pt x="310045" y="9381"/>
                </a:cubicBezTo>
                <a:cubicBezTo>
                  <a:pt x="303095" y="-3774"/>
                  <a:pt x="285117" y="611"/>
                  <a:pt x="273080" y="1049"/>
                </a:cubicBezTo>
                <a:cubicBezTo>
                  <a:pt x="263915" y="1415"/>
                  <a:pt x="254751" y="1882"/>
                  <a:pt x="245609" y="2452"/>
                </a:cubicBezTo>
                <a:cubicBezTo>
                  <a:pt x="240500" y="2781"/>
                  <a:pt x="233901" y="2189"/>
                  <a:pt x="229822" y="5938"/>
                </a:cubicBezTo>
                <a:cubicBezTo>
                  <a:pt x="221272" y="13853"/>
                  <a:pt x="223092" y="34857"/>
                  <a:pt x="224407" y="46148"/>
                </a:cubicBezTo>
                <a:cubicBezTo>
                  <a:pt x="208359" y="49327"/>
                  <a:pt x="194239" y="57527"/>
                  <a:pt x="180558" y="66604"/>
                </a:cubicBezTo>
                <a:cubicBezTo>
                  <a:pt x="175647" y="61544"/>
                  <a:pt x="171087" y="56168"/>
                  <a:pt x="166899" y="50511"/>
                </a:cubicBezTo>
                <a:cubicBezTo>
                  <a:pt x="163523" y="46126"/>
                  <a:pt x="160322" y="43429"/>
                  <a:pt x="154534" y="43320"/>
                </a:cubicBezTo>
                <a:cubicBezTo>
                  <a:pt x="141182" y="43079"/>
                  <a:pt x="126646" y="51585"/>
                  <a:pt x="117021" y="60136"/>
                </a:cubicBezTo>
                <a:cubicBezTo>
                  <a:pt x="108843" y="67415"/>
                  <a:pt x="96697" y="81205"/>
                  <a:pt x="97903" y="93176"/>
                </a:cubicBezTo>
                <a:cubicBezTo>
                  <a:pt x="98560" y="99754"/>
                  <a:pt x="104348" y="105695"/>
                  <a:pt x="108185" y="110716"/>
                </a:cubicBezTo>
                <a:cubicBezTo>
                  <a:pt x="111759" y="115386"/>
                  <a:pt x="115486" y="119924"/>
                  <a:pt x="119301" y="124375"/>
                </a:cubicBezTo>
                <a:cubicBezTo>
                  <a:pt x="106432" y="135995"/>
                  <a:pt x="101761" y="152548"/>
                  <a:pt x="99569" y="169583"/>
                </a:cubicBezTo>
                <a:cubicBezTo>
                  <a:pt x="94329" y="169583"/>
                  <a:pt x="89111" y="169583"/>
                  <a:pt x="83871" y="170044"/>
                </a:cubicBezTo>
                <a:cubicBezTo>
                  <a:pt x="77294" y="170592"/>
                  <a:pt x="67712" y="170614"/>
                  <a:pt x="62231" y="174999"/>
                </a:cubicBezTo>
                <a:cubicBezTo>
                  <a:pt x="52212" y="183023"/>
                  <a:pt x="52080" y="203259"/>
                  <a:pt x="51861" y="214945"/>
                </a:cubicBezTo>
                <a:cubicBezTo>
                  <a:pt x="51642" y="226631"/>
                  <a:pt x="51050" y="244083"/>
                  <a:pt x="62407" y="250923"/>
                </a:cubicBezTo>
                <a:cubicBezTo>
                  <a:pt x="73040" y="257347"/>
                  <a:pt x="87883" y="257128"/>
                  <a:pt x="100819" y="256405"/>
                </a:cubicBezTo>
                <a:cubicBezTo>
                  <a:pt x="102463" y="271447"/>
                  <a:pt x="108076" y="285781"/>
                  <a:pt x="117108" y="297930"/>
                </a:cubicBezTo>
                <a:cubicBezTo>
                  <a:pt x="108054" y="305757"/>
                  <a:pt x="99569" y="317662"/>
                  <a:pt x="96456" y="328734"/>
                </a:cubicBezTo>
                <a:cubicBezTo>
                  <a:pt x="92334" y="343642"/>
                  <a:pt x="108185" y="356578"/>
                  <a:pt x="118051" y="365326"/>
                </a:cubicBezTo>
                <a:cubicBezTo>
                  <a:pt x="127917" y="374074"/>
                  <a:pt x="141686" y="385167"/>
                  <a:pt x="156244" y="382537"/>
                </a:cubicBezTo>
                <a:cubicBezTo>
                  <a:pt x="169596" y="380147"/>
                  <a:pt x="172578" y="369206"/>
                  <a:pt x="178169" y="359318"/>
                </a:cubicBezTo>
                <a:cubicBezTo>
                  <a:pt x="191433" y="369803"/>
                  <a:pt x="206649" y="377546"/>
                  <a:pt x="222938" y="382098"/>
                </a:cubicBezTo>
                <a:cubicBezTo>
                  <a:pt x="222938" y="390057"/>
                  <a:pt x="223289" y="398037"/>
                  <a:pt x="223991" y="405996"/>
                </a:cubicBezTo>
                <a:cubicBezTo>
                  <a:pt x="224495" y="411499"/>
                  <a:pt x="224670" y="417331"/>
                  <a:pt x="228376" y="421716"/>
                </a:cubicBezTo>
                <a:cubicBezTo>
                  <a:pt x="236773" y="431450"/>
                  <a:pt x="255979" y="430486"/>
                  <a:pt x="267598" y="430486"/>
                </a:cubicBezTo>
                <a:cubicBezTo>
                  <a:pt x="301560" y="431889"/>
                  <a:pt x="310768" y="414481"/>
                  <a:pt x="306164" y="382843"/>
                </a:cubicBezTo>
                <a:cubicBezTo>
                  <a:pt x="325129" y="382488"/>
                  <a:pt x="343151" y="374525"/>
                  <a:pt x="356174" y="360744"/>
                </a:cubicBezTo>
                <a:cubicBezTo>
                  <a:pt x="385026" y="392403"/>
                  <a:pt x="400483" y="391197"/>
                  <a:pt x="427078" y="358968"/>
                </a:cubicBezTo>
                <a:cubicBezTo>
                  <a:pt x="435519" y="349277"/>
                  <a:pt x="445889" y="337503"/>
                  <a:pt x="438764" y="324173"/>
                </a:cubicBezTo>
                <a:cubicBezTo>
                  <a:pt x="433414" y="314154"/>
                  <a:pt x="421465" y="307248"/>
                  <a:pt x="410262" y="302249"/>
                </a:cubicBezTo>
                <a:cubicBezTo>
                  <a:pt x="422079" y="288428"/>
                  <a:pt x="429402" y="271322"/>
                  <a:pt x="431222" y="253225"/>
                </a:cubicBezTo>
                <a:cubicBezTo>
                  <a:pt x="438413" y="253225"/>
                  <a:pt x="445604" y="253225"/>
                  <a:pt x="452817" y="253225"/>
                </a:cubicBezTo>
                <a:cubicBezTo>
                  <a:pt x="460030" y="253225"/>
                  <a:pt x="467857" y="253861"/>
                  <a:pt x="473361" y="248731"/>
                </a:cubicBezTo>
                <a:cubicBezTo>
                  <a:pt x="482635" y="240093"/>
                  <a:pt x="482372" y="220229"/>
                  <a:pt x="482854" y="208434"/>
                </a:cubicBezTo>
                <a:cubicBezTo>
                  <a:pt x="483446" y="198370"/>
                  <a:pt x="486077" y="178222"/>
                  <a:pt x="475093" y="172784"/>
                </a:cubicBezTo>
                <a:close/>
                <a:moveTo>
                  <a:pt x="468384" y="207644"/>
                </a:moveTo>
                <a:cubicBezTo>
                  <a:pt x="468208" y="213777"/>
                  <a:pt x="467573" y="219887"/>
                  <a:pt x="466520" y="225929"/>
                </a:cubicBezTo>
                <a:cubicBezTo>
                  <a:pt x="465446" y="232178"/>
                  <a:pt x="465643" y="236672"/>
                  <a:pt x="458934" y="238054"/>
                </a:cubicBezTo>
                <a:cubicBezTo>
                  <a:pt x="450164" y="239873"/>
                  <a:pt x="439553" y="239062"/>
                  <a:pt x="429862" y="238558"/>
                </a:cubicBezTo>
                <a:cubicBezTo>
                  <a:pt x="427231" y="236640"/>
                  <a:pt x="423680" y="236561"/>
                  <a:pt x="420961" y="238361"/>
                </a:cubicBezTo>
                <a:cubicBezTo>
                  <a:pt x="414932" y="239040"/>
                  <a:pt x="413594" y="246473"/>
                  <a:pt x="416949" y="250507"/>
                </a:cubicBezTo>
                <a:cubicBezTo>
                  <a:pt x="415743" y="268680"/>
                  <a:pt x="407784" y="285746"/>
                  <a:pt x="394630" y="298346"/>
                </a:cubicBezTo>
                <a:cubicBezTo>
                  <a:pt x="390705" y="300319"/>
                  <a:pt x="388447" y="305537"/>
                  <a:pt x="390551" y="309045"/>
                </a:cubicBezTo>
                <a:cubicBezTo>
                  <a:pt x="391735" y="312531"/>
                  <a:pt x="394936" y="314987"/>
                  <a:pt x="398488" y="313430"/>
                </a:cubicBezTo>
                <a:cubicBezTo>
                  <a:pt x="406513" y="316388"/>
                  <a:pt x="414011" y="320606"/>
                  <a:pt x="420698" y="325927"/>
                </a:cubicBezTo>
                <a:cubicBezTo>
                  <a:pt x="431660" y="333864"/>
                  <a:pt x="420479" y="345067"/>
                  <a:pt x="413923" y="352061"/>
                </a:cubicBezTo>
                <a:cubicBezTo>
                  <a:pt x="407981" y="358639"/>
                  <a:pt x="398203" y="371662"/>
                  <a:pt x="388140" y="367518"/>
                </a:cubicBezTo>
                <a:cubicBezTo>
                  <a:pt x="378559" y="363572"/>
                  <a:pt x="369504" y="352018"/>
                  <a:pt x="362247" y="344892"/>
                </a:cubicBezTo>
                <a:cubicBezTo>
                  <a:pt x="358717" y="342018"/>
                  <a:pt x="353587" y="342252"/>
                  <a:pt x="350320" y="345440"/>
                </a:cubicBezTo>
                <a:cubicBezTo>
                  <a:pt x="338832" y="361007"/>
                  <a:pt x="320020" y="369423"/>
                  <a:pt x="300749" y="367628"/>
                </a:cubicBezTo>
                <a:cubicBezTo>
                  <a:pt x="299674" y="367536"/>
                  <a:pt x="298600" y="367661"/>
                  <a:pt x="297592" y="368001"/>
                </a:cubicBezTo>
                <a:cubicBezTo>
                  <a:pt x="293623" y="368141"/>
                  <a:pt x="290510" y="371473"/>
                  <a:pt x="290663" y="375442"/>
                </a:cubicBezTo>
                <a:cubicBezTo>
                  <a:pt x="290663" y="375578"/>
                  <a:pt x="290663" y="375714"/>
                  <a:pt x="290685" y="375849"/>
                </a:cubicBezTo>
                <a:cubicBezTo>
                  <a:pt x="291518" y="385014"/>
                  <a:pt x="294018" y="395691"/>
                  <a:pt x="292132" y="404812"/>
                </a:cubicBezTo>
                <a:cubicBezTo>
                  <a:pt x="289502" y="417375"/>
                  <a:pt x="273935" y="415643"/>
                  <a:pt x="264047" y="415358"/>
                </a:cubicBezTo>
                <a:cubicBezTo>
                  <a:pt x="258960" y="415246"/>
                  <a:pt x="253874" y="414792"/>
                  <a:pt x="248831" y="413998"/>
                </a:cubicBezTo>
                <a:cubicBezTo>
                  <a:pt x="242648" y="412968"/>
                  <a:pt x="240390" y="412968"/>
                  <a:pt x="238987" y="406434"/>
                </a:cubicBezTo>
                <a:cubicBezTo>
                  <a:pt x="236795" y="396590"/>
                  <a:pt x="237803" y="385211"/>
                  <a:pt x="237694" y="375192"/>
                </a:cubicBezTo>
                <a:cubicBezTo>
                  <a:pt x="237694" y="375076"/>
                  <a:pt x="237694" y="374957"/>
                  <a:pt x="237694" y="374841"/>
                </a:cubicBezTo>
                <a:cubicBezTo>
                  <a:pt x="237672" y="372460"/>
                  <a:pt x="236203" y="370331"/>
                  <a:pt x="233988" y="369470"/>
                </a:cubicBezTo>
                <a:cubicBezTo>
                  <a:pt x="215243" y="365120"/>
                  <a:pt x="197835" y="356236"/>
                  <a:pt x="183321" y="343598"/>
                </a:cubicBezTo>
                <a:cubicBezTo>
                  <a:pt x="181764" y="342145"/>
                  <a:pt x="179593" y="341553"/>
                  <a:pt x="177533" y="342020"/>
                </a:cubicBezTo>
                <a:cubicBezTo>
                  <a:pt x="167820" y="339586"/>
                  <a:pt x="165540" y="360064"/>
                  <a:pt x="159335" y="364931"/>
                </a:cubicBezTo>
                <a:cubicBezTo>
                  <a:pt x="150763" y="373482"/>
                  <a:pt x="137630" y="361686"/>
                  <a:pt x="130943" y="356052"/>
                </a:cubicBezTo>
                <a:cubicBezTo>
                  <a:pt x="124256" y="350417"/>
                  <a:pt x="109632" y="339718"/>
                  <a:pt x="111649" y="329742"/>
                </a:cubicBezTo>
                <a:cubicBezTo>
                  <a:pt x="113228" y="321871"/>
                  <a:pt x="122195" y="311874"/>
                  <a:pt x="128356" y="307291"/>
                </a:cubicBezTo>
                <a:cubicBezTo>
                  <a:pt x="130110" y="306035"/>
                  <a:pt x="131250" y="304101"/>
                  <a:pt x="131491" y="301964"/>
                </a:cubicBezTo>
                <a:cubicBezTo>
                  <a:pt x="134276" y="300023"/>
                  <a:pt x="134977" y="296184"/>
                  <a:pt x="133048" y="293389"/>
                </a:cubicBezTo>
                <a:cubicBezTo>
                  <a:pt x="132916" y="293207"/>
                  <a:pt x="132784" y="293032"/>
                  <a:pt x="132631" y="292865"/>
                </a:cubicBezTo>
                <a:cubicBezTo>
                  <a:pt x="122677" y="281184"/>
                  <a:pt x="116626" y="266663"/>
                  <a:pt x="115376" y="251362"/>
                </a:cubicBezTo>
                <a:cubicBezTo>
                  <a:pt x="117174" y="246977"/>
                  <a:pt x="114938" y="240685"/>
                  <a:pt x="108558" y="241014"/>
                </a:cubicBezTo>
                <a:cubicBezTo>
                  <a:pt x="97990" y="241584"/>
                  <a:pt x="87138" y="242307"/>
                  <a:pt x="76724" y="239895"/>
                </a:cubicBezTo>
                <a:cubicBezTo>
                  <a:pt x="65016" y="237199"/>
                  <a:pt x="66506" y="223189"/>
                  <a:pt x="66748" y="213367"/>
                </a:cubicBezTo>
                <a:cubicBezTo>
                  <a:pt x="66880" y="207118"/>
                  <a:pt x="66748" y="190587"/>
                  <a:pt x="72427" y="186180"/>
                </a:cubicBezTo>
                <a:cubicBezTo>
                  <a:pt x="75298" y="183988"/>
                  <a:pt x="85120" y="184624"/>
                  <a:pt x="88716" y="184426"/>
                </a:cubicBezTo>
                <a:cubicBezTo>
                  <a:pt x="94899" y="184075"/>
                  <a:pt x="101103" y="184075"/>
                  <a:pt x="107286" y="184426"/>
                </a:cubicBezTo>
                <a:cubicBezTo>
                  <a:pt x="114850" y="184865"/>
                  <a:pt x="118621" y="174823"/>
                  <a:pt x="114170" y="171118"/>
                </a:cubicBezTo>
                <a:cubicBezTo>
                  <a:pt x="115946" y="156560"/>
                  <a:pt x="119169" y="141542"/>
                  <a:pt x="131864" y="132597"/>
                </a:cubicBezTo>
                <a:cubicBezTo>
                  <a:pt x="132872" y="131902"/>
                  <a:pt x="133706" y="130979"/>
                  <a:pt x="134276" y="129900"/>
                </a:cubicBezTo>
                <a:cubicBezTo>
                  <a:pt x="137235" y="126918"/>
                  <a:pt x="137455" y="122187"/>
                  <a:pt x="134802" y="118938"/>
                </a:cubicBezTo>
                <a:cubicBezTo>
                  <a:pt x="130833" y="114443"/>
                  <a:pt x="126996" y="109861"/>
                  <a:pt x="123291" y="105147"/>
                </a:cubicBezTo>
                <a:cubicBezTo>
                  <a:pt x="120682" y="101815"/>
                  <a:pt x="114894" y="96487"/>
                  <a:pt x="113820" y="92387"/>
                </a:cubicBezTo>
                <a:cubicBezTo>
                  <a:pt x="109983" y="79583"/>
                  <a:pt x="145018" y="51980"/>
                  <a:pt x="155476" y="60399"/>
                </a:cubicBezTo>
                <a:cubicBezTo>
                  <a:pt x="158633" y="62942"/>
                  <a:pt x="161089" y="67831"/>
                  <a:pt x="163830" y="70945"/>
                </a:cubicBezTo>
                <a:cubicBezTo>
                  <a:pt x="167206" y="74740"/>
                  <a:pt x="170780" y="78342"/>
                  <a:pt x="174551" y="81732"/>
                </a:cubicBezTo>
                <a:cubicBezTo>
                  <a:pt x="176875" y="83913"/>
                  <a:pt x="180448" y="84106"/>
                  <a:pt x="182992" y="82192"/>
                </a:cubicBezTo>
                <a:cubicBezTo>
                  <a:pt x="198339" y="71975"/>
                  <a:pt x="213533" y="61430"/>
                  <a:pt x="232344" y="59719"/>
                </a:cubicBezTo>
                <a:cubicBezTo>
                  <a:pt x="236575" y="59255"/>
                  <a:pt x="239645" y="55444"/>
                  <a:pt x="239184" y="51208"/>
                </a:cubicBezTo>
                <a:cubicBezTo>
                  <a:pt x="239118" y="50772"/>
                  <a:pt x="239053" y="50340"/>
                  <a:pt x="238921" y="49919"/>
                </a:cubicBezTo>
                <a:cubicBezTo>
                  <a:pt x="239404" y="48801"/>
                  <a:pt x="239557" y="47571"/>
                  <a:pt x="239382" y="46367"/>
                </a:cubicBezTo>
                <a:cubicBezTo>
                  <a:pt x="238286" y="37444"/>
                  <a:pt x="237189" y="26087"/>
                  <a:pt x="239996" y="17076"/>
                </a:cubicBezTo>
                <a:cubicBezTo>
                  <a:pt x="245740" y="15805"/>
                  <a:pt x="253852" y="16638"/>
                  <a:pt x="258894" y="16375"/>
                </a:cubicBezTo>
                <a:cubicBezTo>
                  <a:pt x="267358" y="15936"/>
                  <a:pt x="275820" y="15579"/>
                  <a:pt x="284261" y="15300"/>
                </a:cubicBezTo>
                <a:cubicBezTo>
                  <a:pt x="296648" y="13963"/>
                  <a:pt x="299104" y="16068"/>
                  <a:pt x="298644" y="28630"/>
                </a:cubicBezTo>
                <a:cubicBezTo>
                  <a:pt x="299148" y="37269"/>
                  <a:pt x="299587" y="45929"/>
                  <a:pt x="300047" y="54567"/>
                </a:cubicBezTo>
                <a:cubicBezTo>
                  <a:pt x="300025" y="58115"/>
                  <a:pt x="302897" y="61004"/>
                  <a:pt x="306449" y="61020"/>
                </a:cubicBezTo>
                <a:cubicBezTo>
                  <a:pt x="306558" y="61022"/>
                  <a:pt x="306668" y="61017"/>
                  <a:pt x="306778" y="61013"/>
                </a:cubicBezTo>
                <a:cubicBezTo>
                  <a:pt x="323155" y="64446"/>
                  <a:pt x="338262" y="72390"/>
                  <a:pt x="350386" y="83946"/>
                </a:cubicBezTo>
                <a:cubicBezTo>
                  <a:pt x="352403" y="85992"/>
                  <a:pt x="355560" y="86397"/>
                  <a:pt x="358037" y="84933"/>
                </a:cubicBezTo>
                <a:cubicBezTo>
                  <a:pt x="360339" y="85104"/>
                  <a:pt x="362576" y="84014"/>
                  <a:pt x="363847" y="82082"/>
                </a:cubicBezTo>
                <a:cubicBezTo>
                  <a:pt x="367662" y="77018"/>
                  <a:pt x="376257" y="60158"/>
                  <a:pt x="383207" y="59807"/>
                </a:cubicBezTo>
                <a:cubicBezTo>
                  <a:pt x="386583" y="59676"/>
                  <a:pt x="394958" y="66582"/>
                  <a:pt x="397545" y="68336"/>
                </a:cubicBezTo>
                <a:cubicBezTo>
                  <a:pt x="404693" y="73269"/>
                  <a:pt x="411424" y="78792"/>
                  <a:pt x="417650" y="84845"/>
                </a:cubicBezTo>
                <a:cubicBezTo>
                  <a:pt x="422693" y="89800"/>
                  <a:pt x="424381" y="90567"/>
                  <a:pt x="420259" y="96947"/>
                </a:cubicBezTo>
                <a:cubicBezTo>
                  <a:pt x="414647" y="105717"/>
                  <a:pt x="407324" y="113588"/>
                  <a:pt x="400988" y="121744"/>
                </a:cubicBezTo>
                <a:cubicBezTo>
                  <a:pt x="398357" y="124978"/>
                  <a:pt x="398861" y="129727"/>
                  <a:pt x="402084" y="132353"/>
                </a:cubicBezTo>
                <a:cubicBezTo>
                  <a:pt x="402917" y="133037"/>
                  <a:pt x="403904" y="133531"/>
                  <a:pt x="404956" y="133802"/>
                </a:cubicBezTo>
                <a:cubicBezTo>
                  <a:pt x="412980" y="146576"/>
                  <a:pt x="416817" y="161539"/>
                  <a:pt x="415918" y="176599"/>
                </a:cubicBezTo>
                <a:cubicBezTo>
                  <a:pt x="415458" y="179594"/>
                  <a:pt x="417497" y="182398"/>
                  <a:pt x="420501" y="182870"/>
                </a:cubicBezTo>
                <a:cubicBezTo>
                  <a:pt x="421882" y="184446"/>
                  <a:pt x="423899" y="185336"/>
                  <a:pt x="426003" y="185303"/>
                </a:cubicBezTo>
                <a:cubicBezTo>
                  <a:pt x="439772" y="185720"/>
                  <a:pt x="453475" y="185632"/>
                  <a:pt x="467243" y="186005"/>
                </a:cubicBezTo>
                <a:cubicBezTo>
                  <a:pt x="466651" y="186005"/>
                  <a:pt x="467660" y="187649"/>
                  <a:pt x="467770" y="189315"/>
                </a:cubicBezTo>
                <a:cubicBezTo>
                  <a:pt x="468121" y="195498"/>
                  <a:pt x="468537" y="201505"/>
                  <a:pt x="468362" y="207644"/>
                </a:cubicBezTo>
                <a:close/>
                <a:moveTo>
                  <a:pt x="342734" y="248753"/>
                </a:moveTo>
                <a:cubicBezTo>
                  <a:pt x="340673" y="256992"/>
                  <a:pt x="336178" y="264409"/>
                  <a:pt x="329799" y="270020"/>
                </a:cubicBezTo>
                <a:cubicBezTo>
                  <a:pt x="327058" y="273034"/>
                  <a:pt x="327234" y="277691"/>
                  <a:pt x="330215" y="280478"/>
                </a:cubicBezTo>
                <a:cubicBezTo>
                  <a:pt x="333526" y="283438"/>
                  <a:pt x="337757" y="282078"/>
                  <a:pt x="340629" y="279447"/>
                </a:cubicBezTo>
                <a:cubicBezTo>
                  <a:pt x="348851" y="271859"/>
                  <a:pt x="354595" y="261987"/>
                  <a:pt x="357138" y="251099"/>
                </a:cubicBezTo>
                <a:cubicBezTo>
                  <a:pt x="359397" y="241540"/>
                  <a:pt x="344948" y="239632"/>
                  <a:pt x="342712" y="248753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pic>
        <p:nvPicPr>
          <p:cNvPr id="576" name="Picture 4" descr="Campanha da Fraternidade 2022"/>
          <p:cNvPicPr/>
          <p:nvPr/>
        </p:nvPicPr>
        <p:blipFill>
          <a:blip r:embed="rId3"/>
          <a:stretch/>
        </p:blipFill>
        <p:spPr>
          <a:xfrm>
            <a:off x="937260" y="722520"/>
            <a:ext cx="711300" cy="8487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" name="TextShape 1"/>
          <p:cNvSpPr txBox="1"/>
          <p:nvPr/>
        </p:nvSpPr>
        <p:spPr>
          <a:xfrm>
            <a:off x="3103980" y="662040"/>
            <a:ext cx="4348380" cy="7801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4800" b="1" strike="noStrike" spc="-1" dirty="0">
                <a:solidFill>
                  <a:srgbClr val="2B3547"/>
                </a:solidFill>
                <a:latin typeface="Amatic SC"/>
                <a:ea typeface="Amatic SC"/>
              </a:rPr>
              <a:t>Objetivos Específicos </a:t>
            </a:r>
            <a:endParaRPr lang="pt-BR" sz="4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8" name="TextShape 2"/>
          <p:cNvSpPr txBox="1"/>
          <p:nvPr/>
        </p:nvSpPr>
        <p:spPr>
          <a:xfrm>
            <a:off x="1549500" y="1374660"/>
            <a:ext cx="6512460" cy="26409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pt-BR" sz="24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1. </a:t>
            </a:r>
            <a:r>
              <a:rPr lang="pt-BR" sz="21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Analisar o contexto da educação na </a:t>
            </a:r>
            <a:r>
              <a:rPr lang="pt-BR" sz="21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cultura atual</a:t>
            </a:r>
            <a:r>
              <a:rPr lang="pt-BR" sz="21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, e seus </a:t>
            </a:r>
            <a:r>
              <a:rPr lang="pt-BR" sz="21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desafios potencializados </a:t>
            </a:r>
            <a:r>
              <a:rPr lang="pt-BR" sz="21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pela pandemia.</a:t>
            </a:r>
            <a:endParaRPr lang="pt-BR" sz="2100" b="0" strike="noStrike" spc="-1" dirty="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lang="pt-BR" sz="2100" b="0" strike="noStrike" spc="-1" dirty="0">
                <a:solidFill>
                  <a:srgbClr val="2B3547"/>
                </a:solidFill>
                <a:latin typeface="Nunito"/>
                <a:ea typeface="Nunito"/>
              </a:rPr>
              <a:t> </a:t>
            </a:r>
            <a:endParaRPr lang="pt-BR" sz="21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00000"/>
              </a:lnSpc>
            </a:pPr>
            <a:r>
              <a:rPr lang="pt-BR" sz="21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  2. Verificar o impacto das </a:t>
            </a:r>
            <a:r>
              <a:rPr lang="pt-BR" sz="21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políticas públicas </a:t>
            </a:r>
            <a:r>
              <a:rPr lang="pt-BR" sz="21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na   educação. </a:t>
            </a:r>
            <a:endParaRPr lang="pt-BR" sz="2100" b="0" strike="noStrike" spc="-1" dirty="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endParaRPr lang="pt-BR" sz="2100" b="0" strike="noStrike" spc="-1" dirty="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lang="pt-BR" sz="21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  3. Identificar valores e referências da </a:t>
            </a:r>
            <a:r>
              <a:rPr lang="pt-BR" sz="21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Palavra de Deus e da Tradição cristã</a:t>
            </a:r>
            <a:r>
              <a:rPr lang="pt-BR" sz="21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 em vista de uma educação humanizadora na perspectiva do Reino de Deus</a:t>
            </a:r>
            <a:r>
              <a:rPr lang="pt-BR" sz="2100" b="0" strike="noStrike" spc="-1" dirty="0">
                <a:solidFill>
                  <a:srgbClr val="2B3547"/>
                </a:solidFill>
                <a:latin typeface="Nunito"/>
                <a:ea typeface="Nunito"/>
              </a:rPr>
              <a:t>.</a:t>
            </a:r>
            <a:endParaRPr lang="pt-BR" sz="21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9" name="TextShape 3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3F37B2F9-B295-42B5-8C4D-613251665D17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7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580" name="CustomShape 4"/>
          <p:cNvSpPr/>
          <p:nvPr/>
        </p:nvSpPr>
        <p:spPr>
          <a:xfrm>
            <a:off x="7932600" y="3714120"/>
            <a:ext cx="1019880" cy="978840"/>
          </a:xfrm>
          <a:custGeom>
            <a:avLst/>
            <a:gdLst/>
            <a:ahLst/>
            <a:cxnLst/>
            <a:rect l="l" t="t" r="r" b="b"/>
            <a:pathLst>
              <a:path w="483555" h="464158">
                <a:moveTo>
                  <a:pt x="14370" y="311041"/>
                </a:moveTo>
                <a:cubicBezTo>
                  <a:pt x="13208" y="301350"/>
                  <a:pt x="-977" y="305669"/>
                  <a:pt x="54" y="314812"/>
                </a:cubicBezTo>
                <a:cubicBezTo>
                  <a:pt x="5227" y="358303"/>
                  <a:pt x="26648" y="398237"/>
                  <a:pt x="59995" y="426627"/>
                </a:cubicBezTo>
                <a:cubicBezTo>
                  <a:pt x="67120" y="432700"/>
                  <a:pt x="77995" y="422132"/>
                  <a:pt x="70957" y="416191"/>
                </a:cubicBezTo>
                <a:cubicBezTo>
                  <a:pt x="39408" y="389609"/>
                  <a:pt x="19172" y="352011"/>
                  <a:pt x="14370" y="311041"/>
                </a:cubicBezTo>
                <a:close/>
                <a:moveTo>
                  <a:pt x="336880" y="193437"/>
                </a:moveTo>
                <a:cubicBezTo>
                  <a:pt x="334468" y="176358"/>
                  <a:pt x="330303" y="159652"/>
                  <a:pt x="314956" y="149764"/>
                </a:cubicBezTo>
                <a:cubicBezTo>
                  <a:pt x="298096" y="138801"/>
                  <a:pt x="277136" y="134943"/>
                  <a:pt x="257360" y="135008"/>
                </a:cubicBezTo>
                <a:cubicBezTo>
                  <a:pt x="255101" y="134929"/>
                  <a:pt x="252953" y="136054"/>
                  <a:pt x="251747" y="137968"/>
                </a:cubicBezTo>
                <a:cubicBezTo>
                  <a:pt x="221513" y="140051"/>
                  <a:pt x="199128" y="156275"/>
                  <a:pt x="191038" y="185961"/>
                </a:cubicBezTo>
                <a:cubicBezTo>
                  <a:pt x="183255" y="213827"/>
                  <a:pt x="188122" y="259386"/>
                  <a:pt x="214563" y="276487"/>
                </a:cubicBezTo>
                <a:cubicBezTo>
                  <a:pt x="227893" y="285104"/>
                  <a:pt x="244534" y="286924"/>
                  <a:pt x="260056" y="287450"/>
                </a:cubicBezTo>
                <a:cubicBezTo>
                  <a:pt x="318003" y="291681"/>
                  <a:pt x="344510" y="246232"/>
                  <a:pt x="336880" y="193437"/>
                </a:cubicBezTo>
                <a:close/>
                <a:moveTo>
                  <a:pt x="264069" y="272760"/>
                </a:moveTo>
                <a:cubicBezTo>
                  <a:pt x="249708" y="272541"/>
                  <a:pt x="231906" y="271489"/>
                  <a:pt x="220220" y="261973"/>
                </a:cubicBezTo>
                <a:cubicBezTo>
                  <a:pt x="207306" y="251384"/>
                  <a:pt x="204105" y="231060"/>
                  <a:pt x="203031" y="215384"/>
                </a:cubicBezTo>
                <a:cubicBezTo>
                  <a:pt x="201891" y="198787"/>
                  <a:pt x="204719" y="181006"/>
                  <a:pt x="216185" y="168158"/>
                </a:cubicBezTo>
                <a:cubicBezTo>
                  <a:pt x="228003" y="154806"/>
                  <a:pt x="245827" y="152811"/>
                  <a:pt x="262600" y="152000"/>
                </a:cubicBezTo>
                <a:cubicBezTo>
                  <a:pt x="264244" y="151908"/>
                  <a:pt x="265801" y="151241"/>
                  <a:pt x="266985" y="150114"/>
                </a:cubicBezTo>
                <a:cubicBezTo>
                  <a:pt x="282332" y="151211"/>
                  <a:pt x="299411" y="155376"/>
                  <a:pt x="310373" y="165264"/>
                </a:cubicBezTo>
                <a:cubicBezTo>
                  <a:pt x="321840" y="175613"/>
                  <a:pt x="323133" y="196616"/>
                  <a:pt x="323353" y="210999"/>
                </a:cubicBezTo>
                <a:cubicBezTo>
                  <a:pt x="324142" y="248709"/>
                  <a:pt x="303270" y="274580"/>
                  <a:pt x="264069" y="272760"/>
                </a:cubicBezTo>
                <a:close/>
                <a:moveTo>
                  <a:pt x="271414" y="444539"/>
                </a:moveTo>
                <a:cubicBezTo>
                  <a:pt x="155805" y="470849"/>
                  <a:pt x="43398" y="380958"/>
                  <a:pt x="44122" y="262302"/>
                </a:cubicBezTo>
                <a:cubicBezTo>
                  <a:pt x="44122" y="252502"/>
                  <a:pt x="29498" y="252809"/>
                  <a:pt x="29520" y="262302"/>
                </a:cubicBezTo>
                <a:cubicBezTo>
                  <a:pt x="28555" y="390561"/>
                  <a:pt x="149250" y="487818"/>
                  <a:pt x="274351" y="459097"/>
                </a:cubicBezTo>
                <a:cubicBezTo>
                  <a:pt x="283428" y="457080"/>
                  <a:pt x="280951" y="442456"/>
                  <a:pt x="271414" y="444539"/>
                </a:cubicBezTo>
                <a:close/>
                <a:moveTo>
                  <a:pt x="348150" y="137245"/>
                </a:moveTo>
                <a:cubicBezTo>
                  <a:pt x="328966" y="112294"/>
                  <a:pt x="296408" y="110321"/>
                  <a:pt x="267029" y="109072"/>
                </a:cubicBezTo>
                <a:cubicBezTo>
                  <a:pt x="257952" y="108677"/>
                  <a:pt x="254291" y="123344"/>
                  <a:pt x="263871" y="123739"/>
                </a:cubicBezTo>
                <a:cubicBezTo>
                  <a:pt x="287988" y="124770"/>
                  <a:pt x="319450" y="125011"/>
                  <a:pt x="335521" y="145817"/>
                </a:cubicBezTo>
                <a:cubicBezTo>
                  <a:pt x="353389" y="169123"/>
                  <a:pt x="358585" y="191859"/>
                  <a:pt x="354222" y="220580"/>
                </a:cubicBezTo>
                <a:cubicBezTo>
                  <a:pt x="353104" y="230270"/>
                  <a:pt x="367553" y="232309"/>
                  <a:pt x="368627" y="222926"/>
                </a:cubicBezTo>
                <a:cubicBezTo>
                  <a:pt x="370447" y="207184"/>
                  <a:pt x="371850" y="191530"/>
                  <a:pt x="367575" y="176029"/>
                </a:cubicBezTo>
                <a:cubicBezTo>
                  <a:pt x="363562" y="162000"/>
                  <a:pt x="356985" y="148845"/>
                  <a:pt x="348128" y="137245"/>
                </a:cubicBezTo>
                <a:close/>
                <a:moveTo>
                  <a:pt x="311163" y="288349"/>
                </a:moveTo>
                <a:cubicBezTo>
                  <a:pt x="301867" y="288349"/>
                  <a:pt x="302064" y="303148"/>
                  <a:pt x="311777" y="303148"/>
                </a:cubicBezTo>
                <a:cubicBezTo>
                  <a:pt x="321029" y="303148"/>
                  <a:pt x="320853" y="288349"/>
                  <a:pt x="311163" y="288349"/>
                </a:cubicBezTo>
                <a:close/>
                <a:moveTo>
                  <a:pt x="475115" y="172784"/>
                </a:moveTo>
                <a:cubicBezTo>
                  <a:pt x="469348" y="169934"/>
                  <a:pt x="460294" y="171272"/>
                  <a:pt x="454242" y="171140"/>
                </a:cubicBezTo>
                <a:lnTo>
                  <a:pt x="430717" y="170680"/>
                </a:lnTo>
                <a:cubicBezTo>
                  <a:pt x="430652" y="154344"/>
                  <a:pt x="425916" y="138365"/>
                  <a:pt x="417058" y="124638"/>
                </a:cubicBezTo>
                <a:lnTo>
                  <a:pt x="428547" y="109839"/>
                </a:lnTo>
                <a:cubicBezTo>
                  <a:pt x="432318" y="105016"/>
                  <a:pt x="437448" y="99622"/>
                  <a:pt x="438369" y="93220"/>
                </a:cubicBezTo>
                <a:cubicBezTo>
                  <a:pt x="440101" y="81227"/>
                  <a:pt x="425938" y="71405"/>
                  <a:pt x="417957" y="64828"/>
                </a:cubicBezTo>
                <a:cubicBezTo>
                  <a:pt x="409187" y="57637"/>
                  <a:pt x="394805" y="44855"/>
                  <a:pt x="382878" y="44219"/>
                </a:cubicBezTo>
                <a:cubicBezTo>
                  <a:pt x="370951" y="43583"/>
                  <a:pt x="362379" y="58799"/>
                  <a:pt x="355867" y="68643"/>
                </a:cubicBezTo>
                <a:cubicBezTo>
                  <a:pt x="343874" y="58630"/>
                  <a:pt x="329777" y="51469"/>
                  <a:pt x="314627" y="47705"/>
                </a:cubicBezTo>
                <a:cubicBezTo>
                  <a:pt x="314627" y="35186"/>
                  <a:pt x="315635" y="19882"/>
                  <a:pt x="310045" y="9381"/>
                </a:cubicBezTo>
                <a:cubicBezTo>
                  <a:pt x="303095" y="-3774"/>
                  <a:pt x="285117" y="611"/>
                  <a:pt x="273080" y="1049"/>
                </a:cubicBezTo>
                <a:cubicBezTo>
                  <a:pt x="263915" y="1415"/>
                  <a:pt x="254751" y="1882"/>
                  <a:pt x="245609" y="2452"/>
                </a:cubicBezTo>
                <a:cubicBezTo>
                  <a:pt x="240500" y="2781"/>
                  <a:pt x="233901" y="2189"/>
                  <a:pt x="229822" y="5938"/>
                </a:cubicBezTo>
                <a:cubicBezTo>
                  <a:pt x="221272" y="13853"/>
                  <a:pt x="223092" y="34857"/>
                  <a:pt x="224407" y="46148"/>
                </a:cubicBezTo>
                <a:cubicBezTo>
                  <a:pt x="208359" y="49327"/>
                  <a:pt x="194239" y="57527"/>
                  <a:pt x="180558" y="66604"/>
                </a:cubicBezTo>
                <a:cubicBezTo>
                  <a:pt x="175647" y="61544"/>
                  <a:pt x="171087" y="56168"/>
                  <a:pt x="166899" y="50511"/>
                </a:cubicBezTo>
                <a:cubicBezTo>
                  <a:pt x="163523" y="46126"/>
                  <a:pt x="160322" y="43429"/>
                  <a:pt x="154534" y="43320"/>
                </a:cubicBezTo>
                <a:cubicBezTo>
                  <a:pt x="141182" y="43079"/>
                  <a:pt x="126646" y="51585"/>
                  <a:pt x="117021" y="60136"/>
                </a:cubicBezTo>
                <a:cubicBezTo>
                  <a:pt x="108843" y="67415"/>
                  <a:pt x="96697" y="81205"/>
                  <a:pt x="97903" y="93176"/>
                </a:cubicBezTo>
                <a:cubicBezTo>
                  <a:pt x="98560" y="99754"/>
                  <a:pt x="104348" y="105695"/>
                  <a:pt x="108185" y="110716"/>
                </a:cubicBezTo>
                <a:cubicBezTo>
                  <a:pt x="111759" y="115386"/>
                  <a:pt x="115486" y="119924"/>
                  <a:pt x="119301" y="124375"/>
                </a:cubicBezTo>
                <a:cubicBezTo>
                  <a:pt x="106432" y="135995"/>
                  <a:pt x="101761" y="152548"/>
                  <a:pt x="99569" y="169583"/>
                </a:cubicBezTo>
                <a:cubicBezTo>
                  <a:pt x="94329" y="169583"/>
                  <a:pt x="89111" y="169583"/>
                  <a:pt x="83871" y="170044"/>
                </a:cubicBezTo>
                <a:cubicBezTo>
                  <a:pt x="77294" y="170592"/>
                  <a:pt x="67712" y="170614"/>
                  <a:pt x="62231" y="174999"/>
                </a:cubicBezTo>
                <a:cubicBezTo>
                  <a:pt x="52212" y="183023"/>
                  <a:pt x="52080" y="203259"/>
                  <a:pt x="51861" y="214945"/>
                </a:cubicBezTo>
                <a:cubicBezTo>
                  <a:pt x="51642" y="226631"/>
                  <a:pt x="51050" y="244083"/>
                  <a:pt x="62407" y="250923"/>
                </a:cubicBezTo>
                <a:cubicBezTo>
                  <a:pt x="73040" y="257347"/>
                  <a:pt x="87883" y="257128"/>
                  <a:pt x="100819" y="256405"/>
                </a:cubicBezTo>
                <a:cubicBezTo>
                  <a:pt x="102463" y="271447"/>
                  <a:pt x="108076" y="285781"/>
                  <a:pt x="117108" y="297930"/>
                </a:cubicBezTo>
                <a:cubicBezTo>
                  <a:pt x="108054" y="305757"/>
                  <a:pt x="99569" y="317662"/>
                  <a:pt x="96456" y="328734"/>
                </a:cubicBezTo>
                <a:cubicBezTo>
                  <a:pt x="92334" y="343642"/>
                  <a:pt x="108185" y="356578"/>
                  <a:pt x="118051" y="365326"/>
                </a:cubicBezTo>
                <a:cubicBezTo>
                  <a:pt x="127917" y="374074"/>
                  <a:pt x="141686" y="385167"/>
                  <a:pt x="156244" y="382537"/>
                </a:cubicBezTo>
                <a:cubicBezTo>
                  <a:pt x="169596" y="380147"/>
                  <a:pt x="172578" y="369206"/>
                  <a:pt x="178169" y="359318"/>
                </a:cubicBezTo>
                <a:cubicBezTo>
                  <a:pt x="191433" y="369803"/>
                  <a:pt x="206649" y="377546"/>
                  <a:pt x="222938" y="382098"/>
                </a:cubicBezTo>
                <a:cubicBezTo>
                  <a:pt x="222938" y="390057"/>
                  <a:pt x="223289" y="398037"/>
                  <a:pt x="223991" y="405996"/>
                </a:cubicBezTo>
                <a:cubicBezTo>
                  <a:pt x="224495" y="411499"/>
                  <a:pt x="224670" y="417331"/>
                  <a:pt x="228376" y="421716"/>
                </a:cubicBezTo>
                <a:cubicBezTo>
                  <a:pt x="236773" y="431450"/>
                  <a:pt x="255979" y="430486"/>
                  <a:pt x="267598" y="430486"/>
                </a:cubicBezTo>
                <a:cubicBezTo>
                  <a:pt x="301560" y="431889"/>
                  <a:pt x="310768" y="414481"/>
                  <a:pt x="306164" y="382843"/>
                </a:cubicBezTo>
                <a:cubicBezTo>
                  <a:pt x="325129" y="382488"/>
                  <a:pt x="343151" y="374525"/>
                  <a:pt x="356174" y="360744"/>
                </a:cubicBezTo>
                <a:cubicBezTo>
                  <a:pt x="385026" y="392403"/>
                  <a:pt x="400483" y="391197"/>
                  <a:pt x="427078" y="358968"/>
                </a:cubicBezTo>
                <a:cubicBezTo>
                  <a:pt x="435519" y="349277"/>
                  <a:pt x="445889" y="337503"/>
                  <a:pt x="438764" y="324173"/>
                </a:cubicBezTo>
                <a:cubicBezTo>
                  <a:pt x="433414" y="314154"/>
                  <a:pt x="421465" y="307248"/>
                  <a:pt x="410262" y="302249"/>
                </a:cubicBezTo>
                <a:cubicBezTo>
                  <a:pt x="422079" y="288428"/>
                  <a:pt x="429402" y="271322"/>
                  <a:pt x="431222" y="253225"/>
                </a:cubicBezTo>
                <a:cubicBezTo>
                  <a:pt x="438413" y="253225"/>
                  <a:pt x="445604" y="253225"/>
                  <a:pt x="452817" y="253225"/>
                </a:cubicBezTo>
                <a:cubicBezTo>
                  <a:pt x="460030" y="253225"/>
                  <a:pt x="467857" y="253861"/>
                  <a:pt x="473361" y="248731"/>
                </a:cubicBezTo>
                <a:cubicBezTo>
                  <a:pt x="482635" y="240093"/>
                  <a:pt x="482372" y="220229"/>
                  <a:pt x="482854" y="208434"/>
                </a:cubicBezTo>
                <a:cubicBezTo>
                  <a:pt x="483446" y="198370"/>
                  <a:pt x="486077" y="178222"/>
                  <a:pt x="475093" y="172784"/>
                </a:cubicBezTo>
                <a:close/>
                <a:moveTo>
                  <a:pt x="468384" y="207644"/>
                </a:moveTo>
                <a:cubicBezTo>
                  <a:pt x="468208" y="213777"/>
                  <a:pt x="467573" y="219887"/>
                  <a:pt x="466520" y="225929"/>
                </a:cubicBezTo>
                <a:cubicBezTo>
                  <a:pt x="465446" y="232178"/>
                  <a:pt x="465643" y="236672"/>
                  <a:pt x="458934" y="238054"/>
                </a:cubicBezTo>
                <a:cubicBezTo>
                  <a:pt x="450164" y="239873"/>
                  <a:pt x="439553" y="239062"/>
                  <a:pt x="429862" y="238558"/>
                </a:cubicBezTo>
                <a:cubicBezTo>
                  <a:pt x="427231" y="236640"/>
                  <a:pt x="423680" y="236561"/>
                  <a:pt x="420961" y="238361"/>
                </a:cubicBezTo>
                <a:cubicBezTo>
                  <a:pt x="414932" y="239040"/>
                  <a:pt x="413594" y="246473"/>
                  <a:pt x="416949" y="250507"/>
                </a:cubicBezTo>
                <a:cubicBezTo>
                  <a:pt x="415743" y="268680"/>
                  <a:pt x="407784" y="285746"/>
                  <a:pt x="394630" y="298346"/>
                </a:cubicBezTo>
                <a:cubicBezTo>
                  <a:pt x="390705" y="300319"/>
                  <a:pt x="388447" y="305537"/>
                  <a:pt x="390551" y="309045"/>
                </a:cubicBezTo>
                <a:cubicBezTo>
                  <a:pt x="391735" y="312531"/>
                  <a:pt x="394936" y="314987"/>
                  <a:pt x="398488" y="313430"/>
                </a:cubicBezTo>
                <a:cubicBezTo>
                  <a:pt x="406513" y="316388"/>
                  <a:pt x="414011" y="320606"/>
                  <a:pt x="420698" y="325927"/>
                </a:cubicBezTo>
                <a:cubicBezTo>
                  <a:pt x="431660" y="333864"/>
                  <a:pt x="420479" y="345067"/>
                  <a:pt x="413923" y="352061"/>
                </a:cubicBezTo>
                <a:cubicBezTo>
                  <a:pt x="407981" y="358639"/>
                  <a:pt x="398203" y="371662"/>
                  <a:pt x="388140" y="367518"/>
                </a:cubicBezTo>
                <a:cubicBezTo>
                  <a:pt x="378559" y="363572"/>
                  <a:pt x="369504" y="352018"/>
                  <a:pt x="362247" y="344892"/>
                </a:cubicBezTo>
                <a:cubicBezTo>
                  <a:pt x="358717" y="342018"/>
                  <a:pt x="353587" y="342252"/>
                  <a:pt x="350320" y="345440"/>
                </a:cubicBezTo>
                <a:cubicBezTo>
                  <a:pt x="338832" y="361007"/>
                  <a:pt x="320020" y="369423"/>
                  <a:pt x="300749" y="367628"/>
                </a:cubicBezTo>
                <a:cubicBezTo>
                  <a:pt x="299674" y="367536"/>
                  <a:pt x="298600" y="367661"/>
                  <a:pt x="297592" y="368001"/>
                </a:cubicBezTo>
                <a:cubicBezTo>
                  <a:pt x="293623" y="368141"/>
                  <a:pt x="290510" y="371473"/>
                  <a:pt x="290663" y="375442"/>
                </a:cubicBezTo>
                <a:cubicBezTo>
                  <a:pt x="290663" y="375578"/>
                  <a:pt x="290663" y="375714"/>
                  <a:pt x="290685" y="375849"/>
                </a:cubicBezTo>
                <a:cubicBezTo>
                  <a:pt x="291518" y="385014"/>
                  <a:pt x="294018" y="395691"/>
                  <a:pt x="292132" y="404812"/>
                </a:cubicBezTo>
                <a:cubicBezTo>
                  <a:pt x="289502" y="417375"/>
                  <a:pt x="273935" y="415643"/>
                  <a:pt x="264047" y="415358"/>
                </a:cubicBezTo>
                <a:cubicBezTo>
                  <a:pt x="258960" y="415246"/>
                  <a:pt x="253874" y="414792"/>
                  <a:pt x="248831" y="413998"/>
                </a:cubicBezTo>
                <a:cubicBezTo>
                  <a:pt x="242648" y="412968"/>
                  <a:pt x="240390" y="412968"/>
                  <a:pt x="238987" y="406434"/>
                </a:cubicBezTo>
                <a:cubicBezTo>
                  <a:pt x="236795" y="396590"/>
                  <a:pt x="237803" y="385211"/>
                  <a:pt x="237694" y="375192"/>
                </a:cubicBezTo>
                <a:cubicBezTo>
                  <a:pt x="237694" y="375076"/>
                  <a:pt x="237694" y="374957"/>
                  <a:pt x="237694" y="374841"/>
                </a:cubicBezTo>
                <a:cubicBezTo>
                  <a:pt x="237672" y="372460"/>
                  <a:pt x="236203" y="370331"/>
                  <a:pt x="233988" y="369470"/>
                </a:cubicBezTo>
                <a:cubicBezTo>
                  <a:pt x="215243" y="365120"/>
                  <a:pt x="197835" y="356236"/>
                  <a:pt x="183321" y="343598"/>
                </a:cubicBezTo>
                <a:cubicBezTo>
                  <a:pt x="181764" y="342145"/>
                  <a:pt x="179593" y="341553"/>
                  <a:pt x="177533" y="342020"/>
                </a:cubicBezTo>
                <a:cubicBezTo>
                  <a:pt x="167820" y="339586"/>
                  <a:pt x="165540" y="360064"/>
                  <a:pt x="159335" y="364931"/>
                </a:cubicBezTo>
                <a:cubicBezTo>
                  <a:pt x="150763" y="373482"/>
                  <a:pt x="137630" y="361686"/>
                  <a:pt x="130943" y="356052"/>
                </a:cubicBezTo>
                <a:cubicBezTo>
                  <a:pt x="124256" y="350417"/>
                  <a:pt x="109632" y="339718"/>
                  <a:pt x="111649" y="329742"/>
                </a:cubicBezTo>
                <a:cubicBezTo>
                  <a:pt x="113228" y="321871"/>
                  <a:pt x="122195" y="311874"/>
                  <a:pt x="128356" y="307291"/>
                </a:cubicBezTo>
                <a:cubicBezTo>
                  <a:pt x="130110" y="306035"/>
                  <a:pt x="131250" y="304101"/>
                  <a:pt x="131491" y="301964"/>
                </a:cubicBezTo>
                <a:cubicBezTo>
                  <a:pt x="134276" y="300023"/>
                  <a:pt x="134977" y="296184"/>
                  <a:pt x="133048" y="293389"/>
                </a:cubicBezTo>
                <a:cubicBezTo>
                  <a:pt x="132916" y="293207"/>
                  <a:pt x="132784" y="293032"/>
                  <a:pt x="132631" y="292865"/>
                </a:cubicBezTo>
                <a:cubicBezTo>
                  <a:pt x="122677" y="281184"/>
                  <a:pt x="116626" y="266663"/>
                  <a:pt x="115376" y="251362"/>
                </a:cubicBezTo>
                <a:cubicBezTo>
                  <a:pt x="117174" y="246977"/>
                  <a:pt x="114938" y="240685"/>
                  <a:pt x="108558" y="241014"/>
                </a:cubicBezTo>
                <a:cubicBezTo>
                  <a:pt x="97990" y="241584"/>
                  <a:pt x="87138" y="242307"/>
                  <a:pt x="76724" y="239895"/>
                </a:cubicBezTo>
                <a:cubicBezTo>
                  <a:pt x="65016" y="237199"/>
                  <a:pt x="66506" y="223189"/>
                  <a:pt x="66748" y="213367"/>
                </a:cubicBezTo>
                <a:cubicBezTo>
                  <a:pt x="66880" y="207118"/>
                  <a:pt x="66748" y="190587"/>
                  <a:pt x="72427" y="186180"/>
                </a:cubicBezTo>
                <a:cubicBezTo>
                  <a:pt x="75298" y="183988"/>
                  <a:pt x="85120" y="184624"/>
                  <a:pt x="88716" y="184426"/>
                </a:cubicBezTo>
                <a:cubicBezTo>
                  <a:pt x="94899" y="184075"/>
                  <a:pt x="101103" y="184075"/>
                  <a:pt x="107286" y="184426"/>
                </a:cubicBezTo>
                <a:cubicBezTo>
                  <a:pt x="114850" y="184865"/>
                  <a:pt x="118621" y="174823"/>
                  <a:pt x="114170" y="171118"/>
                </a:cubicBezTo>
                <a:cubicBezTo>
                  <a:pt x="115946" y="156560"/>
                  <a:pt x="119169" y="141542"/>
                  <a:pt x="131864" y="132597"/>
                </a:cubicBezTo>
                <a:cubicBezTo>
                  <a:pt x="132872" y="131902"/>
                  <a:pt x="133706" y="130979"/>
                  <a:pt x="134276" y="129900"/>
                </a:cubicBezTo>
                <a:cubicBezTo>
                  <a:pt x="137235" y="126918"/>
                  <a:pt x="137455" y="122187"/>
                  <a:pt x="134802" y="118938"/>
                </a:cubicBezTo>
                <a:cubicBezTo>
                  <a:pt x="130833" y="114443"/>
                  <a:pt x="126996" y="109861"/>
                  <a:pt x="123291" y="105147"/>
                </a:cubicBezTo>
                <a:cubicBezTo>
                  <a:pt x="120682" y="101815"/>
                  <a:pt x="114894" y="96487"/>
                  <a:pt x="113820" y="92387"/>
                </a:cubicBezTo>
                <a:cubicBezTo>
                  <a:pt x="109983" y="79583"/>
                  <a:pt x="145018" y="51980"/>
                  <a:pt x="155476" y="60399"/>
                </a:cubicBezTo>
                <a:cubicBezTo>
                  <a:pt x="158633" y="62942"/>
                  <a:pt x="161089" y="67831"/>
                  <a:pt x="163830" y="70945"/>
                </a:cubicBezTo>
                <a:cubicBezTo>
                  <a:pt x="167206" y="74740"/>
                  <a:pt x="170780" y="78342"/>
                  <a:pt x="174551" y="81732"/>
                </a:cubicBezTo>
                <a:cubicBezTo>
                  <a:pt x="176875" y="83913"/>
                  <a:pt x="180448" y="84106"/>
                  <a:pt x="182992" y="82192"/>
                </a:cubicBezTo>
                <a:cubicBezTo>
                  <a:pt x="198339" y="71975"/>
                  <a:pt x="213533" y="61430"/>
                  <a:pt x="232344" y="59719"/>
                </a:cubicBezTo>
                <a:cubicBezTo>
                  <a:pt x="236575" y="59255"/>
                  <a:pt x="239645" y="55444"/>
                  <a:pt x="239184" y="51208"/>
                </a:cubicBezTo>
                <a:cubicBezTo>
                  <a:pt x="239118" y="50772"/>
                  <a:pt x="239053" y="50340"/>
                  <a:pt x="238921" y="49919"/>
                </a:cubicBezTo>
                <a:cubicBezTo>
                  <a:pt x="239404" y="48801"/>
                  <a:pt x="239557" y="47571"/>
                  <a:pt x="239382" y="46367"/>
                </a:cubicBezTo>
                <a:cubicBezTo>
                  <a:pt x="238286" y="37444"/>
                  <a:pt x="237189" y="26087"/>
                  <a:pt x="239996" y="17076"/>
                </a:cubicBezTo>
                <a:cubicBezTo>
                  <a:pt x="245740" y="15805"/>
                  <a:pt x="253852" y="16638"/>
                  <a:pt x="258894" y="16375"/>
                </a:cubicBezTo>
                <a:cubicBezTo>
                  <a:pt x="267358" y="15936"/>
                  <a:pt x="275820" y="15579"/>
                  <a:pt x="284261" y="15300"/>
                </a:cubicBezTo>
                <a:cubicBezTo>
                  <a:pt x="296648" y="13963"/>
                  <a:pt x="299104" y="16068"/>
                  <a:pt x="298644" y="28630"/>
                </a:cubicBezTo>
                <a:cubicBezTo>
                  <a:pt x="299148" y="37269"/>
                  <a:pt x="299587" y="45929"/>
                  <a:pt x="300047" y="54567"/>
                </a:cubicBezTo>
                <a:cubicBezTo>
                  <a:pt x="300025" y="58115"/>
                  <a:pt x="302897" y="61004"/>
                  <a:pt x="306449" y="61020"/>
                </a:cubicBezTo>
                <a:cubicBezTo>
                  <a:pt x="306558" y="61022"/>
                  <a:pt x="306668" y="61017"/>
                  <a:pt x="306778" y="61013"/>
                </a:cubicBezTo>
                <a:cubicBezTo>
                  <a:pt x="323155" y="64446"/>
                  <a:pt x="338262" y="72390"/>
                  <a:pt x="350386" y="83946"/>
                </a:cubicBezTo>
                <a:cubicBezTo>
                  <a:pt x="352403" y="85992"/>
                  <a:pt x="355560" y="86397"/>
                  <a:pt x="358037" y="84933"/>
                </a:cubicBezTo>
                <a:cubicBezTo>
                  <a:pt x="360339" y="85104"/>
                  <a:pt x="362576" y="84014"/>
                  <a:pt x="363847" y="82082"/>
                </a:cubicBezTo>
                <a:cubicBezTo>
                  <a:pt x="367662" y="77018"/>
                  <a:pt x="376257" y="60158"/>
                  <a:pt x="383207" y="59807"/>
                </a:cubicBezTo>
                <a:cubicBezTo>
                  <a:pt x="386583" y="59676"/>
                  <a:pt x="394958" y="66582"/>
                  <a:pt x="397545" y="68336"/>
                </a:cubicBezTo>
                <a:cubicBezTo>
                  <a:pt x="404693" y="73269"/>
                  <a:pt x="411424" y="78792"/>
                  <a:pt x="417650" y="84845"/>
                </a:cubicBezTo>
                <a:cubicBezTo>
                  <a:pt x="422693" y="89800"/>
                  <a:pt x="424381" y="90567"/>
                  <a:pt x="420259" y="96947"/>
                </a:cubicBezTo>
                <a:cubicBezTo>
                  <a:pt x="414647" y="105717"/>
                  <a:pt x="407324" y="113588"/>
                  <a:pt x="400988" y="121744"/>
                </a:cubicBezTo>
                <a:cubicBezTo>
                  <a:pt x="398357" y="124978"/>
                  <a:pt x="398861" y="129727"/>
                  <a:pt x="402084" y="132353"/>
                </a:cubicBezTo>
                <a:cubicBezTo>
                  <a:pt x="402917" y="133037"/>
                  <a:pt x="403904" y="133531"/>
                  <a:pt x="404956" y="133802"/>
                </a:cubicBezTo>
                <a:cubicBezTo>
                  <a:pt x="412980" y="146576"/>
                  <a:pt x="416817" y="161539"/>
                  <a:pt x="415918" y="176599"/>
                </a:cubicBezTo>
                <a:cubicBezTo>
                  <a:pt x="415458" y="179594"/>
                  <a:pt x="417497" y="182398"/>
                  <a:pt x="420501" y="182870"/>
                </a:cubicBezTo>
                <a:cubicBezTo>
                  <a:pt x="421882" y="184446"/>
                  <a:pt x="423899" y="185336"/>
                  <a:pt x="426003" y="185303"/>
                </a:cubicBezTo>
                <a:cubicBezTo>
                  <a:pt x="439772" y="185720"/>
                  <a:pt x="453475" y="185632"/>
                  <a:pt x="467243" y="186005"/>
                </a:cubicBezTo>
                <a:cubicBezTo>
                  <a:pt x="466651" y="186005"/>
                  <a:pt x="467660" y="187649"/>
                  <a:pt x="467770" y="189315"/>
                </a:cubicBezTo>
                <a:cubicBezTo>
                  <a:pt x="468121" y="195498"/>
                  <a:pt x="468537" y="201505"/>
                  <a:pt x="468362" y="207644"/>
                </a:cubicBezTo>
                <a:close/>
                <a:moveTo>
                  <a:pt x="342734" y="248753"/>
                </a:moveTo>
                <a:cubicBezTo>
                  <a:pt x="340673" y="256992"/>
                  <a:pt x="336178" y="264409"/>
                  <a:pt x="329799" y="270020"/>
                </a:cubicBezTo>
                <a:cubicBezTo>
                  <a:pt x="327058" y="273034"/>
                  <a:pt x="327234" y="277691"/>
                  <a:pt x="330215" y="280478"/>
                </a:cubicBezTo>
                <a:cubicBezTo>
                  <a:pt x="333526" y="283438"/>
                  <a:pt x="337757" y="282078"/>
                  <a:pt x="340629" y="279447"/>
                </a:cubicBezTo>
                <a:cubicBezTo>
                  <a:pt x="348851" y="271859"/>
                  <a:pt x="354595" y="261987"/>
                  <a:pt x="357138" y="251099"/>
                </a:cubicBezTo>
                <a:cubicBezTo>
                  <a:pt x="359397" y="241540"/>
                  <a:pt x="344948" y="239632"/>
                  <a:pt x="342712" y="248753"/>
                </a:cubicBezTo>
                <a:close/>
              </a:path>
            </a:pathLst>
          </a:cu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pic>
        <p:nvPicPr>
          <p:cNvPr id="581" name="Picture 4" descr="Campanha da Fraternidade 2022"/>
          <p:cNvPicPr/>
          <p:nvPr/>
        </p:nvPicPr>
        <p:blipFill>
          <a:blip r:embed="rId2"/>
          <a:stretch/>
        </p:blipFill>
        <p:spPr>
          <a:xfrm>
            <a:off x="937260" y="815340"/>
            <a:ext cx="754380" cy="78012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2" name="TextShape 1"/>
          <p:cNvSpPr txBox="1"/>
          <p:nvPr/>
        </p:nvSpPr>
        <p:spPr>
          <a:xfrm>
            <a:off x="2788920" y="699120"/>
            <a:ext cx="4793760" cy="6202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4800" b="1" strike="noStrike" spc="-1" dirty="0">
                <a:solidFill>
                  <a:srgbClr val="2B3547"/>
                </a:solidFill>
                <a:latin typeface="Amatic SC"/>
                <a:ea typeface="Amatic SC"/>
              </a:rPr>
              <a:t>Objetivos Específicos </a:t>
            </a:r>
            <a:endParaRPr lang="pt-BR" sz="4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3" name="TextShape 2"/>
          <p:cNvSpPr txBox="1"/>
          <p:nvPr/>
        </p:nvSpPr>
        <p:spPr>
          <a:xfrm>
            <a:off x="1066800" y="1729740"/>
            <a:ext cx="6979920" cy="29632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 algn="just">
              <a:lnSpc>
                <a:spcPct val="100000"/>
              </a:lnSpc>
            </a:pPr>
            <a:r>
              <a:rPr lang="pt-BR" sz="24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4</a:t>
            </a:r>
            <a:r>
              <a:rPr lang="pt-BR" sz="21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. Pensar o </a:t>
            </a:r>
            <a:r>
              <a:rPr lang="pt-BR" sz="21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papel da família</a:t>
            </a:r>
            <a:r>
              <a:rPr lang="pt-BR" sz="21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, da comunidade de fé e da sociedade no processo educativo, com a colaboração dos educadores e das instituições de ensino. </a:t>
            </a:r>
            <a:endParaRPr lang="pt-BR" sz="21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00000"/>
              </a:lnSpc>
            </a:pPr>
            <a:endParaRPr lang="pt-BR" sz="24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00000"/>
              </a:lnSpc>
            </a:pPr>
            <a:r>
              <a:rPr lang="pt-BR" sz="24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5. </a:t>
            </a:r>
            <a:r>
              <a:rPr lang="pt-BR" sz="21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Incentivar propostas educativas que, enraizadas no Evangelho, </a:t>
            </a:r>
            <a:r>
              <a:rPr lang="pt-BR" sz="21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promovam a dignidade humana</a:t>
            </a:r>
            <a:r>
              <a:rPr lang="pt-BR" sz="21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, a experiência do transcendente, a cultura do encontro e o cuidado com a casa comum.</a:t>
            </a:r>
            <a:endParaRPr lang="pt-BR" sz="21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4" name="TextShape 3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520A2794-73E1-4315-B5F2-A44DEC4ABC21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8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585" name="CustomShape 4"/>
          <p:cNvSpPr/>
          <p:nvPr/>
        </p:nvSpPr>
        <p:spPr>
          <a:xfrm>
            <a:off x="7932600" y="3714120"/>
            <a:ext cx="1019880" cy="978840"/>
          </a:xfrm>
          <a:custGeom>
            <a:avLst/>
            <a:gdLst/>
            <a:ahLst/>
            <a:cxnLst/>
            <a:rect l="l" t="t" r="r" b="b"/>
            <a:pathLst>
              <a:path w="483555" h="464158">
                <a:moveTo>
                  <a:pt x="14370" y="311041"/>
                </a:moveTo>
                <a:cubicBezTo>
                  <a:pt x="13208" y="301350"/>
                  <a:pt x="-977" y="305669"/>
                  <a:pt x="54" y="314812"/>
                </a:cubicBezTo>
                <a:cubicBezTo>
                  <a:pt x="5227" y="358303"/>
                  <a:pt x="26648" y="398237"/>
                  <a:pt x="59995" y="426627"/>
                </a:cubicBezTo>
                <a:cubicBezTo>
                  <a:pt x="67120" y="432700"/>
                  <a:pt x="77995" y="422132"/>
                  <a:pt x="70957" y="416191"/>
                </a:cubicBezTo>
                <a:cubicBezTo>
                  <a:pt x="39408" y="389609"/>
                  <a:pt x="19172" y="352011"/>
                  <a:pt x="14370" y="311041"/>
                </a:cubicBezTo>
                <a:close/>
                <a:moveTo>
                  <a:pt x="336880" y="193437"/>
                </a:moveTo>
                <a:cubicBezTo>
                  <a:pt x="334468" y="176358"/>
                  <a:pt x="330303" y="159652"/>
                  <a:pt x="314956" y="149764"/>
                </a:cubicBezTo>
                <a:cubicBezTo>
                  <a:pt x="298096" y="138801"/>
                  <a:pt x="277136" y="134943"/>
                  <a:pt x="257360" y="135008"/>
                </a:cubicBezTo>
                <a:cubicBezTo>
                  <a:pt x="255101" y="134929"/>
                  <a:pt x="252953" y="136054"/>
                  <a:pt x="251747" y="137968"/>
                </a:cubicBezTo>
                <a:cubicBezTo>
                  <a:pt x="221513" y="140051"/>
                  <a:pt x="199128" y="156275"/>
                  <a:pt x="191038" y="185961"/>
                </a:cubicBezTo>
                <a:cubicBezTo>
                  <a:pt x="183255" y="213827"/>
                  <a:pt x="188122" y="259386"/>
                  <a:pt x="214563" y="276487"/>
                </a:cubicBezTo>
                <a:cubicBezTo>
                  <a:pt x="227893" y="285104"/>
                  <a:pt x="244534" y="286924"/>
                  <a:pt x="260056" y="287450"/>
                </a:cubicBezTo>
                <a:cubicBezTo>
                  <a:pt x="318003" y="291681"/>
                  <a:pt x="344510" y="246232"/>
                  <a:pt x="336880" y="193437"/>
                </a:cubicBezTo>
                <a:close/>
                <a:moveTo>
                  <a:pt x="264069" y="272760"/>
                </a:moveTo>
                <a:cubicBezTo>
                  <a:pt x="249708" y="272541"/>
                  <a:pt x="231906" y="271489"/>
                  <a:pt x="220220" y="261973"/>
                </a:cubicBezTo>
                <a:cubicBezTo>
                  <a:pt x="207306" y="251384"/>
                  <a:pt x="204105" y="231060"/>
                  <a:pt x="203031" y="215384"/>
                </a:cubicBezTo>
                <a:cubicBezTo>
                  <a:pt x="201891" y="198787"/>
                  <a:pt x="204719" y="181006"/>
                  <a:pt x="216185" y="168158"/>
                </a:cubicBezTo>
                <a:cubicBezTo>
                  <a:pt x="228003" y="154806"/>
                  <a:pt x="245827" y="152811"/>
                  <a:pt x="262600" y="152000"/>
                </a:cubicBezTo>
                <a:cubicBezTo>
                  <a:pt x="264244" y="151908"/>
                  <a:pt x="265801" y="151241"/>
                  <a:pt x="266985" y="150114"/>
                </a:cubicBezTo>
                <a:cubicBezTo>
                  <a:pt x="282332" y="151211"/>
                  <a:pt x="299411" y="155376"/>
                  <a:pt x="310373" y="165264"/>
                </a:cubicBezTo>
                <a:cubicBezTo>
                  <a:pt x="321840" y="175613"/>
                  <a:pt x="323133" y="196616"/>
                  <a:pt x="323353" y="210999"/>
                </a:cubicBezTo>
                <a:cubicBezTo>
                  <a:pt x="324142" y="248709"/>
                  <a:pt x="303270" y="274580"/>
                  <a:pt x="264069" y="272760"/>
                </a:cubicBezTo>
                <a:close/>
                <a:moveTo>
                  <a:pt x="271414" y="444539"/>
                </a:moveTo>
                <a:cubicBezTo>
                  <a:pt x="155805" y="470849"/>
                  <a:pt x="43398" y="380958"/>
                  <a:pt x="44122" y="262302"/>
                </a:cubicBezTo>
                <a:cubicBezTo>
                  <a:pt x="44122" y="252502"/>
                  <a:pt x="29498" y="252809"/>
                  <a:pt x="29520" y="262302"/>
                </a:cubicBezTo>
                <a:cubicBezTo>
                  <a:pt x="28555" y="390561"/>
                  <a:pt x="149250" y="487818"/>
                  <a:pt x="274351" y="459097"/>
                </a:cubicBezTo>
                <a:cubicBezTo>
                  <a:pt x="283428" y="457080"/>
                  <a:pt x="280951" y="442456"/>
                  <a:pt x="271414" y="444539"/>
                </a:cubicBezTo>
                <a:close/>
                <a:moveTo>
                  <a:pt x="348150" y="137245"/>
                </a:moveTo>
                <a:cubicBezTo>
                  <a:pt x="328966" y="112294"/>
                  <a:pt x="296408" y="110321"/>
                  <a:pt x="267029" y="109072"/>
                </a:cubicBezTo>
                <a:cubicBezTo>
                  <a:pt x="257952" y="108677"/>
                  <a:pt x="254291" y="123344"/>
                  <a:pt x="263871" y="123739"/>
                </a:cubicBezTo>
                <a:cubicBezTo>
                  <a:pt x="287988" y="124770"/>
                  <a:pt x="319450" y="125011"/>
                  <a:pt x="335521" y="145817"/>
                </a:cubicBezTo>
                <a:cubicBezTo>
                  <a:pt x="353389" y="169123"/>
                  <a:pt x="358585" y="191859"/>
                  <a:pt x="354222" y="220580"/>
                </a:cubicBezTo>
                <a:cubicBezTo>
                  <a:pt x="353104" y="230270"/>
                  <a:pt x="367553" y="232309"/>
                  <a:pt x="368627" y="222926"/>
                </a:cubicBezTo>
                <a:cubicBezTo>
                  <a:pt x="370447" y="207184"/>
                  <a:pt x="371850" y="191530"/>
                  <a:pt x="367575" y="176029"/>
                </a:cubicBezTo>
                <a:cubicBezTo>
                  <a:pt x="363562" y="162000"/>
                  <a:pt x="356985" y="148845"/>
                  <a:pt x="348128" y="137245"/>
                </a:cubicBezTo>
                <a:close/>
                <a:moveTo>
                  <a:pt x="311163" y="288349"/>
                </a:moveTo>
                <a:cubicBezTo>
                  <a:pt x="301867" y="288349"/>
                  <a:pt x="302064" y="303148"/>
                  <a:pt x="311777" y="303148"/>
                </a:cubicBezTo>
                <a:cubicBezTo>
                  <a:pt x="321029" y="303148"/>
                  <a:pt x="320853" y="288349"/>
                  <a:pt x="311163" y="288349"/>
                </a:cubicBezTo>
                <a:close/>
                <a:moveTo>
                  <a:pt x="475115" y="172784"/>
                </a:moveTo>
                <a:cubicBezTo>
                  <a:pt x="469348" y="169934"/>
                  <a:pt x="460294" y="171272"/>
                  <a:pt x="454242" y="171140"/>
                </a:cubicBezTo>
                <a:lnTo>
                  <a:pt x="430717" y="170680"/>
                </a:lnTo>
                <a:cubicBezTo>
                  <a:pt x="430652" y="154344"/>
                  <a:pt x="425916" y="138365"/>
                  <a:pt x="417058" y="124638"/>
                </a:cubicBezTo>
                <a:lnTo>
                  <a:pt x="428547" y="109839"/>
                </a:lnTo>
                <a:cubicBezTo>
                  <a:pt x="432318" y="105016"/>
                  <a:pt x="437448" y="99622"/>
                  <a:pt x="438369" y="93220"/>
                </a:cubicBezTo>
                <a:cubicBezTo>
                  <a:pt x="440101" y="81227"/>
                  <a:pt x="425938" y="71405"/>
                  <a:pt x="417957" y="64828"/>
                </a:cubicBezTo>
                <a:cubicBezTo>
                  <a:pt x="409187" y="57637"/>
                  <a:pt x="394805" y="44855"/>
                  <a:pt x="382878" y="44219"/>
                </a:cubicBezTo>
                <a:cubicBezTo>
                  <a:pt x="370951" y="43583"/>
                  <a:pt x="362379" y="58799"/>
                  <a:pt x="355867" y="68643"/>
                </a:cubicBezTo>
                <a:cubicBezTo>
                  <a:pt x="343874" y="58630"/>
                  <a:pt x="329777" y="51469"/>
                  <a:pt x="314627" y="47705"/>
                </a:cubicBezTo>
                <a:cubicBezTo>
                  <a:pt x="314627" y="35186"/>
                  <a:pt x="315635" y="19882"/>
                  <a:pt x="310045" y="9381"/>
                </a:cubicBezTo>
                <a:cubicBezTo>
                  <a:pt x="303095" y="-3774"/>
                  <a:pt x="285117" y="611"/>
                  <a:pt x="273080" y="1049"/>
                </a:cubicBezTo>
                <a:cubicBezTo>
                  <a:pt x="263915" y="1415"/>
                  <a:pt x="254751" y="1882"/>
                  <a:pt x="245609" y="2452"/>
                </a:cubicBezTo>
                <a:cubicBezTo>
                  <a:pt x="240500" y="2781"/>
                  <a:pt x="233901" y="2189"/>
                  <a:pt x="229822" y="5938"/>
                </a:cubicBezTo>
                <a:cubicBezTo>
                  <a:pt x="221272" y="13853"/>
                  <a:pt x="223092" y="34857"/>
                  <a:pt x="224407" y="46148"/>
                </a:cubicBezTo>
                <a:cubicBezTo>
                  <a:pt x="208359" y="49327"/>
                  <a:pt x="194239" y="57527"/>
                  <a:pt x="180558" y="66604"/>
                </a:cubicBezTo>
                <a:cubicBezTo>
                  <a:pt x="175647" y="61544"/>
                  <a:pt x="171087" y="56168"/>
                  <a:pt x="166899" y="50511"/>
                </a:cubicBezTo>
                <a:cubicBezTo>
                  <a:pt x="163523" y="46126"/>
                  <a:pt x="160322" y="43429"/>
                  <a:pt x="154534" y="43320"/>
                </a:cubicBezTo>
                <a:cubicBezTo>
                  <a:pt x="141182" y="43079"/>
                  <a:pt x="126646" y="51585"/>
                  <a:pt x="117021" y="60136"/>
                </a:cubicBezTo>
                <a:cubicBezTo>
                  <a:pt x="108843" y="67415"/>
                  <a:pt x="96697" y="81205"/>
                  <a:pt x="97903" y="93176"/>
                </a:cubicBezTo>
                <a:cubicBezTo>
                  <a:pt x="98560" y="99754"/>
                  <a:pt x="104348" y="105695"/>
                  <a:pt x="108185" y="110716"/>
                </a:cubicBezTo>
                <a:cubicBezTo>
                  <a:pt x="111759" y="115386"/>
                  <a:pt x="115486" y="119924"/>
                  <a:pt x="119301" y="124375"/>
                </a:cubicBezTo>
                <a:cubicBezTo>
                  <a:pt x="106432" y="135995"/>
                  <a:pt x="101761" y="152548"/>
                  <a:pt x="99569" y="169583"/>
                </a:cubicBezTo>
                <a:cubicBezTo>
                  <a:pt x="94329" y="169583"/>
                  <a:pt x="89111" y="169583"/>
                  <a:pt x="83871" y="170044"/>
                </a:cubicBezTo>
                <a:cubicBezTo>
                  <a:pt x="77294" y="170592"/>
                  <a:pt x="67712" y="170614"/>
                  <a:pt x="62231" y="174999"/>
                </a:cubicBezTo>
                <a:cubicBezTo>
                  <a:pt x="52212" y="183023"/>
                  <a:pt x="52080" y="203259"/>
                  <a:pt x="51861" y="214945"/>
                </a:cubicBezTo>
                <a:cubicBezTo>
                  <a:pt x="51642" y="226631"/>
                  <a:pt x="51050" y="244083"/>
                  <a:pt x="62407" y="250923"/>
                </a:cubicBezTo>
                <a:cubicBezTo>
                  <a:pt x="73040" y="257347"/>
                  <a:pt x="87883" y="257128"/>
                  <a:pt x="100819" y="256405"/>
                </a:cubicBezTo>
                <a:cubicBezTo>
                  <a:pt x="102463" y="271447"/>
                  <a:pt x="108076" y="285781"/>
                  <a:pt x="117108" y="297930"/>
                </a:cubicBezTo>
                <a:cubicBezTo>
                  <a:pt x="108054" y="305757"/>
                  <a:pt x="99569" y="317662"/>
                  <a:pt x="96456" y="328734"/>
                </a:cubicBezTo>
                <a:cubicBezTo>
                  <a:pt x="92334" y="343642"/>
                  <a:pt x="108185" y="356578"/>
                  <a:pt x="118051" y="365326"/>
                </a:cubicBezTo>
                <a:cubicBezTo>
                  <a:pt x="127917" y="374074"/>
                  <a:pt x="141686" y="385167"/>
                  <a:pt x="156244" y="382537"/>
                </a:cubicBezTo>
                <a:cubicBezTo>
                  <a:pt x="169596" y="380147"/>
                  <a:pt x="172578" y="369206"/>
                  <a:pt x="178169" y="359318"/>
                </a:cubicBezTo>
                <a:cubicBezTo>
                  <a:pt x="191433" y="369803"/>
                  <a:pt x="206649" y="377546"/>
                  <a:pt x="222938" y="382098"/>
                </a:cubicBezTo>
                <a:cubicBezTo>
                  <a:pt x="222938" y="390057"/>
                  <a:pt x="223289" y="398037"/>
                  <a:pt x="223991" y="405996"/>
                </a:cubicBezTo>
                <a:cubicBezTo>
                  <a:pt x="224495" y="411499"/>
                  <a:pt x="224670" y="417331"/>
                  <a:pt x="228376" y="421716"/>
                </a:cubicBezTo>
                <a:cubicBezTo>
                  <a:pt x="236773" y="431450"/>
                  <a:pt x="255979" y="430486"/>
                  <a:pt x="267598" y="430486"/>
                </a:cubicBezTo>
                <a:cubicBezTo>
                  <a:pt x="301560" y="431889"/>
                  <a:pt x="310768" y="414481"/>
                  <a:pt x="306164" y="382843"/>
                </a:cubicBezTo>
                <a:cubicBezTo>
                  <a:pt x="325129" y="382488"/>
                  <a:pt x="343151" y="374525"/>
                  <a:pt x="356174" y="360744"/>
                </a:cubicBezTo>
                <a:cubicBezTo>
                  <a:pt x="385026" y="392403"/>
                  <a:pt x="400483" y="391197"/>
                  <a:pt x="427078" y="358968"/>
                </a:cubicBezTo>
                <a:cubicBezTo>
                  <a:pt x="435519" y="349277"/>
                  <a:pt x="445889" y="337503"/>
                  <a:pt x="438764" y="324173"/>
                </a:cubicBezTo>
                <a:cubicBezTo>
                  <a:pt x="433414" y="314154"/>
                  <a:pt x="421465" y="307248"/>
                  <a:pt x="410262" y="302249"/>
                </a:cubicBezTo>
                <a:cubicBezTo>
                  <a:pt x="422079" y="288428"/>
                  <a:pt x="429402" y="271322"/>
                  <a:pt x="431222" y="253225"/>
                </a:cubicBezTo>
                <a:cubicBezTo>
                  <a:pt x="438413" y="253225"/>
                  <a:pt x="445604" y="253225"/>
                  <a:pt x="452817" y="253225"/>
                </a:cubicBezTo>
                <a:cubicBezTo>
                  <a:pt x="460030" y="253225"/>
                  <a:pt x="467857" y="253861"/>
                  <a:pt x="473361" y="248731"/>
                </a:cubicBezTo>
                <a:cubicBezTo>
                  <a:pt x="482635" y="240093"/>
                  <a:pt x="482372" y="220229"/>
                  <a:pt x="482854" y="208434"/>
                </a:cubicBezTo>
                <a:cubicBezTo>
                  <a:pt x="483446" y="198370"/>
                  <a:pt x="486077" y="178222"/>
                  <a:pt x="475093" y="172784"/>
                </a:cubicBezTo>
                <a:close/>
                <a:moveTo>
                  <a:pt x="468384" y="207644"/>
                </a:moveTo>
                <a:cubicBezTo>
                  <a:pt x="468208" y="213777"/>
                  <a:pt x="467573" y="219887"/>
                  <a:pt x="466520" y="225929"/>
                </a:cubicBezTo>
                <a:cubicBezTo>
                  <a:pt x="465446" y="232178"/>
                  <a:pt x="465643" y="236672"/>
                  <a:pt x="458934" y="238054"/>
                </a:cubicBezTo>
                <a:cubicBezTo>
                  <a:pt x="450164" y="239873"/>
                  <a:pt x="439553" y="239062"/>
                  <a:pt x="429862" y="238558"/>
                </a:cubicBezTo>
                <a:cubicBezTo>
                  <a:pt x="427231" y="236640"/>
                  <a:pt x="423680" y="236561"/>
                  <a:pt x="420961" y="238361"/>
                </a:cubicBezTo>
                <a:cubicBezTo>
                  <a:pt x="414932" y="239040"/>
                  <a:pt x="413594" y="246473"/>
                  <a:pt x="416949" y="250507"/>
                </a:cubicBezTo>
                <a:cubicBezTo>
                  <a:pt x="415743" y="268680"/>
                  <a:pt x="407784" y="285746"/>
                  <a:pt x="394630" y="298346"/>
                </a:cubicBezTo>
                <a:cubicBezTo>
                  <a:pt x="390705" y="300319"/>
                  <a:pt x="388447" y="305537"/>
                  <a:pt x="390551" y="309045"/>
                </a:cubicBezTo>
                <a:cubicBezTo>
                  <a:pt x="391735" y="312531"/>
                  <a:pt x="394936" y="314987"/>
                  <a:pt x="398488" y="313430"/>
                </a:cubicBezTo>
                <a:cubicBezTo>
                  <a:pt x="406513" y="316388"/>
                  <a:pt x="414011" y="320606"/>
                  <a:pt x="420698" y="325927"/>
                </a:cubicBezTo>
                <a:cubicBezTo>
                  <a:pt x="431660" y="333864"/>
                  <a:pt x="420479" y="345067"/>
                  <a:pt x="413923" y="352061"/>
                </a:cubicBezTo>
                <a:cubicBezTo>
                  <a:pt x="407981" y="358639"/>
                  <a:pt x="398203" y="371662"/>
                  <a:pt x="388140" y="367518"/>
                </a:cubicBezTo>
                <a:cubicBezTo>
                  <a:pt x="378559" y="363572"/>
                  <a:pt x="369504" y="352018"/>
                  <a:pt x="362247" y="344892"/>
                </a:cubicBezTo>
                <a:cubicBezTo>
                  <a:pt x="358717" y="342018"/>
                  <a:pt x="353587" y="342252"/>
                  <a:pt x="350320" y="345440"/>
                </a:cubicBezTo>
                <a:cubicBezTo>
                  <a:pt x="338832" y="361007"/>
                  <a:pt x="320020" y="369423"/>
                  <a:pt x="300749" y="367628"/>
                </a:cubicBezTo>
                <a:cubicBezTo>
                  <a:pt x="299674" y="367536"/>
                  <a:pt x="298600" y="367661"/>
                  <a:pt x="297592" y="368001"/>
                </a:cubicBezTo>
                <a:cubicBezTo>
                  <a:pt x="293623" y="368141"/>
                  <a:pt x="290510" y="371473"/>
                  <a:pt x="290663" y="375442"/>
                </a:cubicBezTo>
                <a:cubicBezTo>
                  <a:pt x="290663" y="375578"/>
                  <a:pt x="290663" y="375714"/>
                  <a:pt x="290685" y="375849"/>
                </a:cubicBezTo>
                <a:cubicBezTo>
                  <a:pt x="291518" y="385014"/>
                  <a:pt x="294018" y="395691"/>
                  <a:pt x="292132" y="404812"/>
                </a:cubicBezTo>
                <a:cubicBezTo>
                  <a:pt x="289502" y="417375"/>
                  <a:pt x="273935" y="415643"/>
                  <a:pt x="264047" y="415358"/>
                </a:cubicBezTo>
                <a:cubicBezTo>
                  <a:pt x="258960" y="415246"/>
                  <a:pt x="253874" y="414792"/>
                  <a:pt x="248831" y="413998"/>
                </a:cubicBezTo>
                <a:cubicBezTo>
                  <a:pt x="242648" y="412968"/>
                  <a:pt x="240390" y="412968"/>
                  <a:pt x="238987" y="406434"/>
                </a:cubicBezTo>
                <a:cubicBezTo>
                  <a:pt x="236795" y="396590"/>
                  <a:pt x="237803" y="385211"/>
                  <a:pt x="237694" y="375192"/>
                </a:cubicBezTo>
                <a:cubicBezTo>
                  <a:pt x="237694" y="375076"/>
                  <a:pt x="237694" y="374957"/>
                  <a:pt x="237694" y="374841"/>
                </a:cubicBezTo>
                <a:cubicBezTo>
                  <a:pt x="237672" y="372460"/>
                  <a:pt x="236203" y="370331"/>
                  <a:pt x="233988" y="369470"/>
                </a:cubicBezTo>
                <a:cubicBezTo>
                  <a:pt x="215243" y="365120"/>
                  <a:pt x="197835" y="356236"/>
                  <a:pt x="183321" y="343598"/>
                </a:cubicBezTo>
                <a:cubicBezTo>
                  <a:pt x="181764" y="342145"/>
                  <a:pt x="179593" y="341553"/>
                  <a:pt x="177533" y="342020"/>
                </a:cubicBezTo>
                <a:cubicBezTo>
                  <a:pt x="167820" y="339586"/>
                  <a:pt x="165540" y="360064"/>
                  <a:pt x="159335" y="364931"/>
                </a:cubicBezTo>
                <a:cubicBezTo>
                  <a:pt x="150763" y="373482"/>
                  <a:pt x="137630" y="361686"/>
                  <a:pt x="130943" y="356052"/>
                </a:cubicBezTo>
                <a:cubicBezTo>
                  <a:pt x="124256" y="350417"/>
                  <a:pt x="109632" y="339718"/>
                  <a:pt x="111649" y="329742"/>
                </a:cubicBezTo>
                <a:cubicBezTo>
                  <a:pt x="113228" y="321871"/>
                  <a:pt x="122195" y="311874"/>
                  <a:pt x="128356" y="307291"/>
                </a:cubicBezTo>
                <a:cubicBezTo>
                  <a:pt x="130110" y="306035"/>
                  <a:pt x="131250" y="304101"/>
                  <a:pt x="131491" y="301964"/>
                </a:cubicBezTo>
                <a:cubicBezTo>
                  <a:pt x="134276" y="300023"/>
                  <a:pt x="134977" y="296184"/>
                  <a:pt x="133048" y="293389"/>
                </a:cubicBezTo>
                <a:cubicBezTo>
                  <a:pt x="132916" y="293207"/>
                  <a:pt x="132784" y="293032"/>
                  <a:pt x="132631" y="292865"/>
                </a:cubicBezTo>
                <a:cubicBezTo>
                  <a:pt x="122677" y="281184"/>
                  <a:pt x="116626" y="266663"/>
                  <a:pt x="115376" y="251362"/>
                </a:cubicBezTo>
                <a:cubicBezTo>
                  <a:pt x="117174" y="246977"/>
                  <a:pt x="114938" y="240685"/>
                  <a:pt x="108558" y="241014"/>
                </a:cubicBezTo>
                <a:cubicBezTo>
                  <a:pt x="97990" y="241584"/>
                  <a:pt x="87138" y="242307"/>
                  <a:pt x="76724" y="239895"/>
                </a:cubicBezTo>
                <a:cubicBezTo>
                  <a:pt x="65016" y="237199"/>
                  <a:pt x="66506" y="223189"/>
                  <a:pt x="66748" y="213367"/>
                </a:cubicBezTo>
                <a:cubicBezTo>
                  <a:pt x="66880" y="207118"/>
                  <a:pt x="66748" y="190587"/>
                  <a:pt x="72427" y="186180"/>
                </a:cubicBezTo>
                <a:cubicBezTo>
                  <a:pt x="75298" y="183988"/>
                  <a:pt x="85120" y="184624"/>
                  <a:pt x="88716" y="184426"/>
                </a:cubicBezTo>
                <a:cubicBezTo>
                  <a:pt x="94899" y="184075"/>
                  <a:pt x="101103" y="184075"/>
                  <a:pt x="107286" y="184426"/>
                </a:cubicBezTo>
                <a:cubicBezTo>
                  <a:pt x="114850" y="184865"/>
                  <a:pt x="118621" y="174823"/>
                  <a:pt x="114170" y="171118"/>
                </a:cubicBezTo>
                <a:cubicBezTo>
                  <a:pt x="115946" y="156560"/>
                  <a:pt x="119169" y="141542"/>
                  <a:pt x="131864" y="132597"/>
                </a:cubicBezTo>
                <a:cubicBezTo>
                  <a:pt x="132872" y="131902"/>
                  <a:pt x="133706" y="130979"/>
                  <a:pt x="134276" y="129900"/>
                </a:cubicBezTo>
                <a:cubicBezTo>
                  <a:pt x="137235" y="126918"/>
                  <a:pt x="137455" y="122187"/>
                  <a:pt x="134802" y="118938"/>
                </a:cubicBezTo>
                <a:cubicBezTo>
                  <a:pt x="130833" y="114443"/>
                  <a:pt x="126996" y="109861"/>
                  <a:pt x="123291" y="105147"/>
                </a:cubicBezTo>
                <a:cubicBezTo>
                  <a:pt x="120682" y="101815"/>
                  <a:pt x="114894" y="96487"/>
                  <a:pt x="113820" y="92387"/>
                </a:cubicBezTo>
                <a:cubicBezTo>
                  <a:pt x="109983" y="79583"/>
                  <a:pt x="145018" y="51980"/>
                  <a:pt x="155476" y="60399"/>
                </a:cubicBezTo>
                <a:cubicBezTo>
                  <a:pt x="158633" y="62942"/>
                  <a:pt x="161089" y="67831"/>
                  <a:pt x="163830" y="70945"/>
                </a:cubicBezTo>
                <a:cubicBezTo>
                  <a:pt x="167206" y="74740"/>
                  <a:pt x="170780" y="78342"/>
                  <a:pt x="174551" y="81732"/>
                </a:cubicBezTo>
                <a:cubicBezTo>
                  <a:pt x="176875" y="83913"/>
                  <a:pt x="180448" y="84106"/>
                  <a:pt x="182992" y="82192"/>
                </a:cubicBezTo>
                <a:cubicBezTo>
                  <a:pt x="198339" y="71975"/>
                  <a:pt x="213533" y="61430"/>
                  <a:pt x="232344" y="59719"/>
                </a:cubicBezTo>
                <a:cubicBezTo>
                  <a:pt x="236575" y="59255"/>
                  <a:pt x="239645" y="55444"/>
                  <a:pt x="239184" y="51208"/>
                </a:cubicBezTo>
                <a:cubicBezTo>
                  <a:pt x="239118" y="50772"/>
                  <a:pt x="239053" y="50340"/>
                  <a:pt x="238921" y="49919"/>
                </a:cubicBezTo>
                <a:cubicBezTo>
                  <a:pt x="239404" y="48801"/>
                  <a:pt x="239557" y="47571"/>
                  <a:pt x="239382" y="46367"/>
                </a:cubicBezTo>
                <a:cubicBezTo>
                  <a:pt x="238286" y="37444"/>
                  <a:pt x="237189" y="26087"/>
                  <a:pt x="239996" y="17076"/>
                </a:cubicBezTo>
                <a:cubicBezTo>
                  <a:pt x="245740" y="15805"/>
                  <a:pt x="253852" y="16638"/>
                  <a:pt x="258894" y="16375"/>
                </a:cubicBezTo>
                <a:cubicBezTo>
                  <a:pt x="267358" y="15936"/>
                  <a:pt x="275820" y="15579"/>
                  <a:pt x="284261" y="15300"/>
                </a:cubicBezTo>
                <a:cubicBezTo>
                  <a:pt x="296648" y="13963"/>
                  <a:pt x="299104" y="16068"/>
                  <a:pt x="298644" y="28630"/>
                </a:cubicBezTo>
                <a:cubicBezTo>
                  <a:pt x="299148" y="37269"/>
                  <a:pt x="299587" y="45929"/>
                  <a:pt x="300047" y="54567"/>
                </a:cubicBezTo>
                <a:cubicBezTo>
                  <a:pt x="300025" y="58115"/>
                  <a:pt x="302897" y="61004"/>
                  <a:pt x="306449" y="61020"/>
                </a:cubicBezTo>
                <a:cubicBezTo>
                  <a:pt x="306558" y="61022"/>
                  <a:pt x="306668" y="61017"/>
                  <a:pt x="306778" y="61013"/>
                </a:cubicBezTo>
                <a:cubicBezTo>
                  <a:pt x="323155" y="64446"/>
                  <a:pt x="338262" y="72390"/>
                  <a:pt x="350386" y="83946"/>
                </a:cubicBezTo>
                <a:cubicBezTo>
                  <a:pt x="352403" y="85992"/>
                  <a:pt x="355560" y="86397"/>
                  <a:pt x="358037" y="84933"/>
                </a:cubicBezTo>
                <a:cubicBezTo>
                  <a:pt x="360339" y="85104"/>
                  <a:pt x="362576" y="84014"/>
                  <a:pt x="363847" y="82082"/>
                </a:cubicBezTo>
                <a:cubicBezTo>
                  <a:pt x="367662" y="77018"/>
                  <a:pt x="376257" y="60158"/>
                  <a:pt x="383207" y="59807"/>
                </a:cubicBezTo>
                <a:cubicBezTo>
                  <a:pt x="386583" y="59676"/>
                  <a:pt x="394958" y="66582"/>
                  <a:pt x="397545" y="68336"/>
                </a:cubicBezTo>
                <a:cubicBezTo>
                  <a:pt x="404693" y="73269"/>
                  <a:pt x="411424" y="78792"/>
                  <a:pt x="417650" y="84845"/>
                </a:cubicBezTo>
                <a:cubicBezTo>
                  <a:pt x="422693" y="89800"/>
                  <a:pt x="424381" y="90567"/>
                  <a:pt x="420259" y="96947"/>
                </a:cubicBezTo>
                <a:cubicBezTo>
                  <a:pt x="414647" y="105717"/>
                  <a:pt x="407324" y="113588"/>
                  <a:pt x="400988" y="121744"/>
                </a:cubicBezTo>
                <a:cubicBezTo>
                  <a:pt x="398357" y="124978"/>
                  <a:pt x="398861" y="129727"/>
                  <a:pt x="402084" y="132353"/>
                </a:cubicBezTo>
                <a:cubicBezTo>
                  <a:pt x="402917" y="133037"/>
                  <a:pt x="403904" y="133531"/>
                  <a:pt x="404956" y="133802"/>
                </a:cubicBezTo>
                <a:cubicBezTo>
                  <a:pt x="412980" y="146576"/>
                  <a:pt x="416817" y="161539"/>
                  <a:pt x="415918" y="176599"/>
                </a:cubicBezTo>
                <a:cubicBezTo>
                  <a:pt x="415458" y="179594"/>
                  <a:pt x="417497" y="182398"/>
                  <a:pt x="420501" y="182870"/>
                </a:cubicBezTo>
                <a:cubicBezTo>
                  <a:pt x="421882" y="184446"/>
                  <a:pt x="423899" y="185336"/>
                  <a:pt x="426003" y="185303"/>
                </a:cubicBezTo>
                <a:cubicBezTo>
                  <a:pt x="439772" y="185720"/>
                  <a:pt x="453475" y="185632"/>
                  <a:pt x="467243" y="186005"/>
                </a:cubicBezTo>
                <a:cubicBezTo>
                  <a:pt x="466651" y="186005"/>
                  <a:pt x="467660" y="187649"/>
                  <a:pt x="467770" y="189315"/>
                </a:cubicBezTo>
                <a:cubicBezTo>
                  <a:pt x="468121" y="195498"/>
                  <a:pt x="468537" y="201505"/>
                  <a:pt x="468362" y="207644"/>
                </a:cubicBezTo>
                <a:close/>
                <a:moveTo>
                  <a:pt x="342734" y="248753"/>
                </a:moveTo>
                <a:cubicBezTo>
                  <a:pt x="340673" y="256992"/>
                  <a:pt x="336178" y="264409"/>
                  <a:pt x="329799" y="270020"/>
                </a:cubicBezTo>
                <a:cubicBezTo>
                  <a:pt x="327058" y="273034"/>
                  <a:pt x="327234" y="277691"/>
                  <a:pt x="330215" y="280478"/>
                </a:cubicBezTo>
                <a:cubicBezTo>
                  <a:pt x="333526" y="283438"/>
                  <a:pt x="337757" y="282078"/>
                  <a:pt x="340629" y="279447"/>
                </a:cubicBezTo>
                <a:cubicBezTo>
                  <a:pt x="348851" y="271859"/>
                  <a:pt x="354595" y="261987"/>
                  <a:pt x="357138" y="251099"/>
                </a:cubicBezTo>
                <a:cubicBezTo>
                  <a:pt x="359397" y="241540"/>
                  <a:pt x="344948" y="239632"/>
                  <a:pt x="342712" y="248753"/>
                </a:cubicBezTo>
                <a:close/>
              </a:path>
            </a:pathLst>
          </a:custGeom>
          <a:solidFill>
            <a:srgbClr val="FF0000"/>
          </a:solidFill>
          <a:ln>
            <a:solidFill>
              <a:srgbClr val="00B05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pic>
        <p:nvPicPr>
          <p:cNvPr id="586" name="Picture 4" descr="Campanha da Fraternidade 2022"/>
          <p:cNvPicPr/>
          <p:nvPr/>
        </p:nvPicPr>
        <p:blipFill>
          <a:blip r:embed="rId2"/>
          <a:stretch/>
        </p:blipFill>
        <p:spPr>
          <a:xfrm>
            <a:off x="795240" y="571320"/>
            <a:ext cx="442800" cy="62028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TextShape 1"/>
          <p:cNvSpPr txBox="1"/>
          <p:nvPr/>
        </p:nvSpPr>
        <p:spPr>
          <a:xfrm>
            <a:off x="2750820" y="676080"/>
            <a:ext cx="5034180" cy="6202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pt-BR" sz="4800" b="1" strike="noStrike" spc="-1" dirty="0">
                <a:solidFill>
                  <a:srgbClr val="2B3547"/>
                </a:solidFill>
                <a:latin typeface="Amatic SC"/>
                <a:ea typeface="Amatic SC"/>
              </a:rPr>
              <a:t>Objetivos Específicos </a:t>
            </a:r>
            <a:endParaRPr lang="pt-BR" sz="4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8" name="TextShape 2"/>
          <p:cNvSpPr txBox="1"/>
          <p:nvPr/>
        </p:nvSpPr>
        <p:spPr>
          <a:xfrm>
            <a:off x="1440180" y="1656780"/>
            <a:ext cx="6553200" cy="27475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 algn="just">
              <a:lnSpc>
                <a:spcPct val="100000"/>
              </a:lnSpc>
            </a:pPr>
            <a:r>
              <a:rPr lang="pt-BR" sz="21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6. Estimular a organização do </a:t>
            </a:r>
            <a:r>
              <a:rPr lang="pt-BR" sz="21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serviço pastoral </a:t>
            </a:r>
            <a:r>
              <a:rPr lang="pt-BR" sz="21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junto a escolas, universidades, centros comunitários e outros espaços educativos, em especial das instituições católicas de ensino. </a:t>
            </a:r>
            <a:endParaRPr lang="pt-BR" sz="21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00000"/>
              </a:lnSpc>
            </a:pPr>
            <a:endParaRPr lang="pt-BR" sz="8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100000"/>
              </a:lnSpc>
            </a:pPr>
            <a:r>
              <a:rPr lang="pt-BR" sz="21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7. Promover uma </a:t>
            </a:r>
            <a:r>
              <a:rPr lang="pt-BR" sz="21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educação comprometida </a:t>
            </a:r>
            <a:r>
              <a:rPr lang="pt-BR" sz="21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com novas formas de economia, de política e de progresso verdadeiramente </a:t>
            </a:r>
            <a:r>
              <a:rPr lang="pt-BR" sz="2100" b="1" strike="noStrike" spc="-1" dirty="0">
                <a:solidFill>
                  <a:srgbClr val="C00000"/>
                </a:solidFill>
                <a:latin typeface="Nunito"/>
                <a:ea typeface="Nunito"/>
              </a:rPr>
              <a:t>a serviço da vida humana, em especial, dos mais pobres</a:t>
            </a:r>
            <a:r>
              <a:rPr lang="pt-BR" sz="2100" b="1" strike="noStrike" spc="-1" dirty="0">
                <a:solidFill>
                  <a:srgbClr val="2B3547"/>
                </a:solidFill>
                <a:latin typeface="Nunito"/>
                <a:ea typeface="Nunito"/>
              </a:rPr>
              <a:t>.</a:t>
            </a:r>
            <a:endParaRPr lang="pt-BR" sz="21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9" name="TextShape 3"/>
          <p:cNvSpPr txBox="1"/>
          <p:nvPr/>
        </p:nvSpPr>
        <p:spPr>
          <a:xfrm>
            <a:off x="8404200" y="4693320"/>
            <a:ext cx="548280" cy="299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/>
          <a:p>
            <a:pPr algn="r">
              <a:lnSpc>
                <a:spcPct val="100000"/>
              </a:lnSpc>
            </a:pPr>
            <a:fld id="{60EA6134-585F-47FE-97BC-12EF8D0732BB}" type="slidenum">
              <a:rPr lang="pt-BR" sz="1500" b="1" strike="noStrike" spc="-1">
                <a:solidFill>
                  <a:srgbClr val="7F8B91"/>
                </a:solidFill>
                <a:latin typeface="Amatic SC"/>
                <a:ea typeface="Amatic SC"/>
              </a:rPr>
              <a:t>9</a:t>
            </a:fld>
            <a:endParaRPr lang="pt-BR" sz="1500" b="0" strike="noStrike" spc="-1">
              <a:latin typeface="Times New Roman"/>
            </a:endParaRPr>
          </a:p>
        </p:txBody>
      </p:sp>
      <p:sp>
        <p:nvSpPr>
          <p:cNvPr id="590" name="CustomShape 4"/>
          <p:cNvSpPr/>
          <p:nvPr/>
        </p:nvSpPr>
        <p:spPr>
          <a:xfrm>
            <a:off x="7932600" y="3714120"/>
            <a:ext cx="1019880" cy="978840"/>
          </a:xfrm>
          <a:custGeom>
            <a:avLst/>
            <a:gdLst/>
            <a:ahLst/>
            <a:cxnLst/>
            <a:rect l="l" t="t" r="r" b="b"/>
            <a:pathLst>
              <a:path w="483555" h="464158">
                <a:moveTo>
                  <a:pt x="14370" y="311041"/>
                </a:moveTo>
                <a:cubicBezTo>
                  <a:pt x="13208" y="301350"/>
                  <a:pt x="-977" y="305669"/>
                  <a:pt x="54" y="314812"/>
                </a:cubicBezTo>
                <a:cubicBezTo>
                  <a:pt x="5227" y="358303"/>
                  <a:pt x="26648" y="398237"/>
                  <a:pt x="59995" y="426627"/>
                </a:cubicBezTo>
                <a:cubicBezTo>
                  <a:pt x="67120" y="432700"/>
                  <a:pt x="77995" y="422132"/>
                  <a:pt x="70957" y="416191"/>
                </a:cubicBezTo>
                <a:cubicBezTo>
                  <a:pt x="39408" y="389609"/>
                  <a:pt x="19172" y="352011"/>
                  <a:pt x="14370" y="311041"/>
                </a:cubicBezTo>
                <a:close/>
                <a:moveTo>
                  <a:pt x="336880" y="193437"/>
                </a:moveTo>
                <a:cubicBezTo>
                  <a:pt x="334468" y="176358"/>
                  <a:pt x="330303" y="159652"/>
                  <a:pt x="314956" y="149764"/>
                </a:cubicBezTo>
                <a:cubicBezTo>
                  <a:pt x="298096" y="138801"/>
                  <a:pt x="277136" y="134943"/>
                  <a:pt x="257360" y="135008"/>
                </a:cubicBezTo>
                <a:cubicBezTo>
                  <a:pt x="255101" y="134929"/>
                  <a:pt x="252953" y="136054"/>
                  <a:pt x="251747" y="137968"/>
                </a:cubicBezTo>
                <a:cubicBezTo>
                  <a:pt x="221513" y="140051"/>
                  <a:pt x="199128" y="156275"/>
                  <a:pt x="191038" y="185961"/>
                </a:cubicBezTo>
                <a:cubicBezTo>
                  <a:pt x="183255" y="213827"/>
                  <a:pt x="188122" y="259386"/>
                  <a:pt x="214563" y="276487"/>
                </a:cubicBezTo>
                <a:cubicBezTo>
                  <a:pt x="227893" y="285104"/>
                  <a:pt x="244534" y="286924"/>
                  <a:pt x="260056" y="287450"/>
                </a:cubicBezTo>
                <a:cubicBezTo>
                  <a:pt x="318003" y="291681"/>
                  <a:pt x="344510" y="246232"/>
                  <a:pt x="336880" y="193437"/>
                </a:cubicBezTo>
                <a:close/>
                <a:moveTo>
                  <a:pt x="264069" y="272760"/>
                </a:moveTo>
                <a:cubicBezTo>
                  <a:pt x="249708" y="272541"/>
                  <a:pt x="231906" y="271489"/>
                  <a:pt x="220220" y="261973"/>
                </a:cubicBezTo>
                <a:cubicBezTo>
                  <a:pt x="207306" y="251384"/>
                  <a:pt x="204105" y="231060"/>
                  <a:pt x="203031" y="215384"/>
                </a:cubicBezTo>
                <a:cubicBezTo>
                  <a:pt x="201891" y="198787"/>
                  <a:pt x="204719" y="181006"/>
                  <a:pt x="216185" y="168158"/>
                </a:cubicBezTo>
                <a:cubicBezTo>
                  <a:pt x="228003" y="154806"/>
                  <a:pt x="245827" y="152811"/>
                  <a:pt x="262600" y="152000"/>
                </a:cubicBezTo>
                <a:cubicBezTo>
                  <a:pt x="264244" y="151908"/>
                  <a:pt x="265801" y="151241"/>
                  <a:pt x="266985" y="150114"/>
                </a:cubicBezTo>
                <a:cubicBezTo>
                  <a:pt x="282332" y="151211"/>
                  <a:pt x="299411" y="155376"/>
                  <a:pt x="310373" y="165264"/>
                </a:cubicBezTo>
                <a:cubicBezTo>
                  <a:pt x="321840" y="175613"/>
                  <a:pt x="323133" y="196616"/>
                  <a:pt x="323353" y="210999"/>
                </a:cubicBezTo>
                <a:cubicBezTo>
                  <a:pt x="324142" y="248709"/>
                  <a:pt x="303270" y="274580"/>
                  <a:pt x="264069" y="272760"/>
                </a:cubicBezTo>
                <a:close/>
                <a:moveTo>
                  <a:pt x="271414" y="444539"/>
                </a:moveTo>
                <a:cubicBezTo>
                  <a:pt x="155805" y="470849"/>
                  <a:pt x="43398" y="380958"/>
                  <a:pt x="44122" y="262302"/>
                </a:cubicBezTo>
                <a:cubicBezTo>
                  <a:pt x="44122" y="252502"/>
                  <a:pt x="29498" y="252809"/>
                  <a:pt x="29520" y="262302"/>
                </a:cubicBezTo>
                <a:cubicBezTo>
                  <a:pt x="28555" y="390561"/>
                  <a:pt x="149250" y="487818"/>
                  <a:pt x="274351" y="459097"/>
                </a:cubicBezTo>
                <a:cubicBezTo>
                  <a:pt x="283428" y="457080"/>
                  <a:pt x="280951" y="442456"/>
                  <a:pt x="271414" y="444539"/>
                </a:cubicBezTo>
                <a:close/>
                <a:moveTo>
                  <a:pt x="348150" y="137245"/>
                </a:moveTo>
                <a:cubicBezTo>
                  <a:pt x="328966" y="112294"/>
                  <a:pt x="296408" y="110321"/>
                  <a:pt x="267029" y="109072"/>
                </a:cubicBezTo>
                <a:cubicBezTo>
                  <a:pt x="257952" y="108677"/>
                  <a:pt x="254291" y="123344"/>
                  <a:pt x="263871" y="123739"/>
                </a:cubicBezTo>
                <a:cubicBezTo>
                  <a:pt x="287988" y="124770"/>
                  <a:pt x="319450" y="125011"/>
                  <a:pt x="335521" y="145817"/>
                </a:cubicBezTo>
                <a:cubicBezTo>
                  <a:pt x="353389" y="169123"/>
                  <a:pt x="358585" y="191859"/>
                  <a:pt x="354222" y="220580"/>
                </a:cubicBezTo>
                <a:cubicBezTo>
                  <a:pt x="353104" y="230270"/>
                  <a:pt x="367553" y="232309"/>
                  <a:pt x="368627" y="222926"/>
                </a:cubicBezTo>
                <a:cubicBezTo>
                  <a:pt x="370447" y="207184"/>
                  <a:pt x="371850" y="191530"/>
                  <a:pt x="367575" y="176029"/>
                </a:cubicBezTo>
                <a:cubicBezTo>
                  <a:pt x="363562" y="162000"/>
                  <a:pt x="356985" y="148845"/>
                  <a:pt x="348128" y="137245"/>
                </a:cubicBezTo>
                <a:close/>
                <a:moveTo>
                  <a:pt x="311163" y="288349"/>
                </a:moveTo>
                <a:cubicBezTo>
                  <a:pt x="301867" y="288349"/>
                  <a:pt x="302064" y="303148"/>
                  <a:pt x="311777" y="303148"/>
                </a:cubicBezTo>
                <a:cubicBezTo>
                  <a:pt x="321029" y="303148"/>
                  <a:pt x="320853" y="288349"/>
                  <a:pt x="311163" y="288349"/>
                </a:cubicBezTo>
                <a:close/>
                <a:moveTo>
                  <a:pt x="475115" y="172784"/>
                </a:moveTo>
                <a:cubicBezTo>
                  <a:pt x="469348" y="169934"/>
                  <a:pt x="460294" y="171272"/>
                  <a:pt x="454242" y="171140"/>
                </a:cubicBezTo>
                <a:lnTo>
                  <a:pt x="430717" y="170680"/>
                </a:lnTo>
                <a:cubicBezTo>
                  <a:pt x="430652" y="154344"/>
                  <a:pt x="425916" y="138365"/>
                  <a:pt x="417058" y="124638"/>
                </a:cubicBezTo>
                <a:lnTo>
                  <a:pt x="428547" y="109839"/>
                </a:lnTo>
                <a:cubicBezTo>
                  <a:pt x="432318" y="105016"/>
                  <a:pt x="437448" y="99622"/>
                  <a:pt x="438369" y="93220"/>
                </a:cubicBezTo>
                <a:cubicBezTo>
                  <a:pt x="440101" y="81227"/>
                  <a:pt x="425938" y="71405"/>
                  <a:pt x="417957" y="64828"/>
                </a:cubicBezTo>
                <a:cubicBezTo>
                  <a:pt x="409187" y="57637"/>
                  <a:pt x="394805" y="44855"/>
                  <a:pt x="382878" y="44219"/>
                </a:cubicBezTo>
                <a:cubicBezTo>
                  <a:pt x="370951" y="43583"/>
                  <a:pt x="362379" y="58799"/>
                  <a:pt x="355867" y="68643"/>
                </a:cubicBezTo>
                <a:cubicBezTo>
                  <a:pt x="343874" y="58630"/>
                  <a:pt x="329777" y="51469"/>
                  <a:pt x="314627" y="47705"/>
                </a:cubicBezTo>
                <a:cubicBezTo>
                  <a:pt x="314627" y="35186"/>
                  <a:pt x="315635" y="19882"/>
                  <a:pt x="310045" y="9381"/>
                </a:cubicBezTo>
                <a:cubicBezTo>
                  <a:pt x="303095" y="-3774"/>
                  <a:pt x="285117" y="611"/>
                  <a:pt x="273080" y="1049"/>
                </a:cubicBezTo>
                <a:cubicBezTo>
                  <a:pt x="263915" y="1415"/>
                  <a:pt x="254751" y="1882"/>
                  <a:pt x="245609" y="2452"/>
                </a:cubicBezTo>
                <a:cubicBezTo>
                  <a:pt x="240500" y="2781"/>
                  <a:pt x="233901" y="2189"/>
                  <a:pt x="229822" y="5938"/>
                </a:cubicBezTo>
                <a:cubicBezTo>
                  <a:pt x="221272" y="13853"/>
                  <a:pt x="223092" y="34857"/>
                  <a:pt x="224407" y="46148"/>
                </a:cubicBezTo>
                <a:cubicBezTo>
                  <a:pt x="208359" y="49327"/>
                  <a:pt x="194239" y="57527"/>
                  <a:pt x="180558" y="66604"/>
                </a:cubicBezTo>
                <a:cubicBezTo>
                  <a:pt x="175647" y="61544"/>
                  <a:pt x="171087" y="56168"/>
                  <a:pt x="166899" y="50511"/>
                </a:cubicBezTo>
                <a:cubicBezTo>
                  <a:pt x="163523" y="46126"/>
                  <a:pt x="160322" y="43429"/>
                  <a:pt x="154534" y="43320"/>
                </a:cubicBezTo>
                <a:cubicBezTo>
                  <a:pt x="141182" y="43079"/>
                  <a:pt x="126646" y="51585"/>
                  <a:pt x="117021" y="60136"/>
                </a:cubicBezTo>
                <a:cubicBezTo>
                  <a:pt x="108843" y="67415"/>
                  <a:pt x="96697" y="81205"/>
                  <a:pt x="97903" y="93176"/>
                </a:cubicBezTo>
                <a:cubicBezTo>
                  <a:pt x="98560" y="99754"/>
                  <a:pt x="104348" y="105695"/>
                  <a:pt x="108185" y="110716"/>
                </a:cubicBezTo>
                <a:cubicBezTo>
                  <a:pt x="111759" y="115386"/>
                  <a:pt x="115486" y="119924"/>
                  <a:pt x="119301" y="124375"/>
                </a:cubicBezTo>
                <a:cubicBezTo>
                  <a:pt x="106432" y="135995"/>
                  <a:pt x="101761" y="152548"/>
                  <a:pt x="99569" y="169583"/>
                </a:cubicBezTo>
                <a:cubicBezTo>
                  <a:pt x="94329" y="169583"/>
                  <a:pt x="89111" y="169583"/>
                  <a:pt x="83871" y="170044"/>
                </a:cubicBezTo>
                <a:cubicBezTo>
                  <a:pt x="77294" y="170592"/>
                  <a:pt x="67712" y="170614"/>
                  <a:pt x="62231" y="174999"/>
                </a:cubicBezTo>
                <a:cubicBezTo>
                  <a:pt x="52212" y="183023"/>
                  <a:pt x="52080" y="203259"/>
                  <a:pt x="51861" y="214945"/>
                </a:cubicBezTo>
                <a:cubicBezTo>
                  <a:pt x="51642" y="226631"/>
                  <a:pt x="51050" y="244083"/>
                  <a:pt x="62407" y="250923"/>
                </a:cubicBezTo>
                <a:cubicBezTo>
                  <a:pt x="73040" y="257347"/>
                  <a:pt x="87883" y="257128"/>
                  <a:pt x="100819" y="256405"/>
                </a:cubicBezTo>
                <a:cubicBezTo>
                  <a:pt x="102463" y="271447"/>
                  <a:pt x="108076" y="285781"/>
                  <a:pt x="117108" y="297930"/>
                </a:cubicBezTo>
                <a:cubicBezTo>
                  <a:pt x="108054" y="305757"/>
                  <a:pt x="99569" y="317662"/>
                  <a:pt x="96456" y="328734"/>
                </a:cubicBezTo>
                <a:cubicBezTo>
                  <a:pt x="92334" y="343642"/>
                  <a:pt x="108185" y="356578"/>
                  <a:pt x="118051" y="365326"/>
                </a:cubicBezTo>
                <a:cubicBezTo>
                  <a:pt x="127917" y="374074"/>
                  <a:pt x="141686" y="385167"/>
                  <a:pt x="156244" y="382537"/>
                </a:cubicBezTo>
                <a:cubicBezTo>
                  <a:pt x="169596" y="380147"/>
                  <a:pt x="172578" y="369206"/>
                  <a:pt x="178169" y="359318"/>
                </a:cubicBezTo>
                <a:cubicBezTo>
                  <a:pt x="191433" y="369803"/>
                  <a:pt x="206649" y="377546"/>
                  <a:pt x="222938" y="382098"/>
                </a:cubicBezTo>
                <a:cubicBezTo>
                  <a:pt x="222938" y="390057"/>
                  <a:pt x="223289" y="398037"/>
                  <a:pt x="223991" y="405996"/>
                </a:cubicBezTo>
                <a:cubicBezTo>
                  <a:pt x="224495" y="411499"/>
                  <a:pt x="224670" y="417331"/>
                  <a:pt x="228376" y="421716"/>
                </a:cubicBezTo>
                <a:cubicBezTo>
                  <a:pt x="236773" y="431450"/>
                  <a:pt x="255979" y="430486"/>
                  <a:pt x="267598" y="430486"/>
                </a:cubicBezTo>
                <a:cubicBezTo>
                  <a:pt x="301560" y="431889"/>
                  <a:pt x="310768" y="414481"/>
                  <a:pt x="306164" y="382843"/>
                </a:cubicBezTo>
                <a:cubicBezTo>
                  <a:pt x="325129" y="382488"/>
                  <a:pt x="343151" y="374525"/>
                  <a:pt x="356174" y="360744"/>
                </a:cubicBezTo>
                <a:cubicBezTo>
                  <a:pt x="385026" y="392403"/>
                  <a:pt x="400483" y="391197"/>
                  <a:pt x="427078" y="358968"/>
                </a:cubicBezTo>
                <a:cubicBezTo>
                  <a:pt x="435519" y="349277"/>
                  <a:pt x="445889" y="337503"/>
                  <a:pt x="438764" y="324173"/>
                </a:cubicBezTo>
                <a:cubicBezTo>
                  <a:pt x="433414" y="314154"/>
                  <a:pt x="421465" y="307248"/>
                  <a:pt x="410262" y="302249"/>
                </a:cubicBezTo>
                <a:cubicBezTo>
                  <a:pt x="422079" y="288428"/>
                  <a:pt x="429402" y="271322"/>
                  <a:pt x="431222" y="253225"/>
                </a:cubicBezTo>
                <a:cubicBezTo>
                  <a:pt x="438413" y="253225"/>
                  <a:pt x="445604" y="253225"/>
                  <a:pt x="452817" y="253225"/>
                </a:cubicBezTo>
                <a:cubicBezTo>
                  <a:pt x="460030" y="253225"/>
                  <a:pt x="467857" y="253861"/>
                  <a:pt x="473361" y="248731"/>
                </a:cubicBezTo>
                <a:cubicBezTo>
                  <a:pt x="482635" y="240093"/>
                  <a:pt x="482372" y="220229"/>
                  <a:pt x="482854" y="208434"/>
                </a:cubicBezTo>
                <a:cubicBezTo>
                  <a:pt x="483446" y="198370"/>
                  <a:pt x="486077" y="178222"/>
                  <a:pt x="475093" y="172784"/>
                </a:cubicBezTo>
                <a:close/>
                <a:moveTo>
                  <a:pt x="468384" y="207644"/>
                </a:moveTo>
                <a:cubicBezTo>
                  <a:pt x="468208" y="213777"/>
                  <a:pt x="467573" y="219887"/>
                  <a:pt x="466520" y="225929"/>
                </a:cubicBezTo>
                <a:cubicBezTo>
                  <a:pt x="465446" y="232178"/>
                  <a:pt x="465643" y="236672"/>
                  <a:pt x="458934" y="238054"/>
                </a:cubicBezTo>
                <a:cubicBezTo>
                  <a:pt x="450164" y="239873"/>
                  <a:pt x="439553" y="239062"/>
                  <a:pt x="429862" y="238558"/>
                </a:cubicBezTo>
                <a:cubicBezTo>
                  <a:pt x="427231" y="236640"/>
                  <a:pt x="423680" y="236561"/>
                  <a:pt x="420961" y="238361"/>
                </a:cubicBezTo>
                <a:cubicBezTo>
                  <a:pt x="414932" y="239040"/>
                  <a:pt x="413594" y="246473"/>
                  <a:pt x="416949" y="250507"/>
                </a:cubicBezTo>
                <a:cubicBezTo>
                  <a:pt x="415743" y="268680"/>
                  <a:pt x="407784" y="285746"/>
                  <a:pt x="394630" y="298346"/>
                </a:cubicBezTo>
                <a:cubicBezTo>
                  <a:pt x="390705" y="300319"/>
                  <a:pt x="388447" y="305537"/>
                  <a:pt x="390551" y="309045"/>
                </a:cubicBezTo>
                <a:cubicBezTo>
                  <a:pt x="391735" y="312531"/>
                  <a:pt x="394936" y="314987"/>
                  <a:pt x="398488" y="313430"/>
                </a:cubicBezTo>
                <a:cubicBezTo>
                  <a:pt x="406513" y="316388"/>
                  <a:pt x="414011" y="320606"/>
                  <a:pt x="420698" y="325927"/>
                </a:cubicBezTo>
                <a:cubicBezTo>
                  <a:pt x="431660" y="333864"/>
                  <a:pt x="420479" y="345067"/>
                  <a:pt x="413923" y="352061"/>
                </a:cubicBezTo>
                <a:cubicBezTo>
                  <a:pt x="407981" y="358639"/>
                  <a:pt x="398203" y="371662"/>
                  <a:pt x="388140" y="367518"/>
                </a:cubicBezTo>
                <a:cubicBezTo>
                  <a:pt x="378559" y="363572"/>
                  <a:pt x="369504" y="352018"/>
                  <a:pt x="362247" y="344892"/>
                </a:cubicBezTo>
                <a:cubicBezTo>
                  <a:pt x="358717" y="342018"/>
                  <a:pt x="353587" y="342252"/>
                  <a:pt x="350320" y="345440"/>
                </a:cubicBezTo>
                <a:cubicBezTo>
                  <a:pt x="338832" y="361007"/>
                  <a:pt x="320020" y="369423"/>
                  <a:pt x="300749" y="367628"/>
                </a:cubicBezTo>
                <a:cubicBezTo>
                  <a:pt x="299674" y="367536"/>
                  <a:pt x="298600" y="367661"/>
                  <a:pt x="297592" y="368001"/>
                </a:cubicBezTo>
                <a:cubicBezTo>
                  <a:pt x="293623" y="368141"/>
                  <a:pt x="290510" y="371473"/>
                  <a:pt x="290663" y="375442"/>
                </a:cubicBezTo>
                <a:cubicBezTo>
                  <a:pt x="290663" y="375578"/>
                  <a:pt x="290663" y="375714"/>
                  <a:pt x="290685" y="375849"/>
                </a:cubicBezTo>
                <a:cubicBezTo>
                  <a:pt x="291518" y="385014"/>
                  <a:pt x="294018" y="395691"/>
                  <a:pt x="292132" y="404812"/>
                </a:cubicBezTo>
                <a:cubicBezTo>
                  <a:pt x="289502" y="417375"/>
                  <a:pt x="273935" y="415643"/>
                  <a:pt x="264047" y="415358"/>
                </a:cubicBezTo>
                <a:cubicBezTo>
                  <a:pt x="258960" y="415246"/>
                  <a:pt x="253874" y="414792"/>
                  <a:pt x="248831" y="413998"/>
                </a:cubicBezTo>
                <a:cubicBezTo>
                  <a:pt x="242648" y="412968"/>
                  <a:pt x="240390" y="412968"/>
                  <a:pt x="238987" y="406434"/>
                </a:cubicBezTo>
                <a:cubicBezTo>
                  <a:pt x="236795" y="396590"/>
                  <a:pt x="237803" y="385211"/>
                  <a:pt x="237694" y="375192"/>
                </a:cubicBezTo>
                <a:cubicBezTo>
                  <a:pt x="237694" y="375076"/>
                  <a:pt x="237694" y="374957"/>
                  <a:pt x="237694" y="374841"/>
                </a:cubicBezTo>
                <a:cubicBezTo>
                  <a:pt x="237672" y="372460"/>
                  <a:pt x="236203" y="370331"/>
                  <a:pt x="233988" y="369470"/>
                </a:cubicBezTo>
                <a:cubicBezTo>
                  <a:pt x="215243" y="365120"/>
                  <a:pt x="197835" y="356236"/>
                  <a:pt x="183321" y="343598"/>
                </a:cubicBezTo>
                <a:cubicBezTo>
                  <a:pt x="181764" y="342145"/>
                  <a:pt x="179593" y="341553"/>
                  <a:pt x="177533" y="342020"/>
                </a:cubicBezTo>
                <a:cubicBezTo>
                  <a:pt x="167820" y="339586"/>
                  <a:pt x="165540" y="360064"/>
                  <a:pt x="159335" y="364931"/>
                </a:cubicBezTo>
                <a:cubicBezTo>
                  <a:pt x="150763" y="373482"/>
                  <a:pt x="137630" y="361686"/>
                  <a:pt x="130943" y="356052"/>
                </a:cubicBezTo>
                <a:cubicBezTo>
                  <a:pt x="124256" y="350417"/>
                  <a:pt x="109632" y="339718"/>
                  <a:pt x="111649" y="329742"/>
                </a:cubicBezTo>
                <a:cubicBezTo>
                  <a:pt x="113228" y="321871"/>
                  <a:pt x="122195" y="311874"/>
                  <a:pt x="128356" y="307291"/>
                </a:cubicBezTo>
                <a:cubicBezTo>
                  <a:pt x="130110" y="306035"/>
                  <a:pt x="131250" y="304101"/>
                  <a:pt x="131491" y="301964"/>
                </a:cubicBezTo>
                <a:cubicBezTo>
                  <a:pt x="134276" y="300023"/>
                  <a:pt x="134977" y="296184"/>
                  <a:pt x="133048" y="293389"/>
                </a:cubicBezTo>
                <a:cubicBezTo>
                  <a:pt x="132916" y="293207"/>
                  <a:pt x="132784" y="293032"/>
                  <a:pt x="132631" y="292865"/>
                </a:cubicBezTo>
                <a:cubicBezTo>
                  <a:pt x="122677" y="281184"/>
                  <a:pt x="116626" y="266663"/>
                  <a:pt x="115376" y="251362"/>
                </a:cubicBezTo>
                <a:cubicBezTo>
                  <a:pt x="117174" y="246977"/>
                  <a:pt x="114938" y="240685"/>
                  <a:pt x="108558" y="241014"/>
                </a:cubicBezTo>
                <a:cubicBezTo>
                  <a:pt x="97990" y="241584"/>
                  <a:pt x="87138" y="242307"/>
                  <a:pt x="76724" y="239895"/>
                </a:cubicBezTo>
                <a:cubicBezTo>
                  <a:pt x="65016" y="237199"/>
                  <a:pt x="66506" y="223189"/>
                  <a:pt x="66748" y="213367"/>
                </a:cubicBezTo>
                <a:cubicBezTo>
                  <a:pt x="66880" y="207118"/>
                  <a:pt x="66748" y="190587"/>
                  <a:pt x="72427" y="186180"/>
                </a:cubicBezTo>
                <a:cubicBezTo>
                  <a:pt x="75298" y="183988"/>
                  <a:pt x="85120" y="184624"/>
                  <a:pt x="88716" y="184426"/>
                </a:cubicBezTo>
                <a:cubicBezTo>
                  <a:pt x="94899" y="184075"/>
                  <a:pt x="101103" y="184075"/>
                  <a:pt x="107286" y="184426"/>
                </a:cubicBezTo>
                <a:cubicBezTo>
                  <a:pt x="114850" y="184865"/>
                  <a:pt x="118621" y="174823"/>
                  <a:pt x="114170" y="171118"/>
                </a:cubicBezTo>
                <a:cubicBezTo>
                  <a:pt x="115946" y="156560"/>
                  <a:pt x="119169" y="141542"/>
                  <a:pt x="131864" y="132597"/>
                </a:cubicBezTo>
                <a:cubicBezTo>
                  <a:pt x="132872" y="131902"/>
                  <a:pt x="133706" y="130979"/>
                  <a:pt x="134276" y="129900"/>
                </a:cubicBezTo>
                <a:cubicBezTo>
                  <a:pt x="137235" y="126918"/>
                  <a:pt x="137455" y="122187"/>
                  <a:pt x="134802" y="118938"/>
                </a:cubicBezTo>
                <a:cubicBezTo>
                  <a:pt x="130833" y="114443"/>
                  <a:pt x="126996" y="109861"/>
                  <a:pt x="123291" y="105147"/>
                </a:cubicBezTo>
                <a:cubicBezTo>
                  <a:pt x="120682" y="101815"/>
                  <a:pt x="114894" y="96487"/>
                  <a:pt x="113820" y="92387"/>
                </a:cubicBezTo>
                <a:cubicBezTo>
                  <a:pt x="109983" y="79583"/>
                  <a:pt x="145018" y="51980"/>
                  <a:pt x="155476" y="60399"/>
                </a:cubicBezTo>
                <a:cubicBezTo>
                  <a:pt x="158633" y="62942"/>
                  <a:pt x="161089" y="67831"/>
                  <a:pt x="163830" y="70945"/>
                </a:cubicBezTo>
                <a:cubicBezTo>
                  <a:pt x="167206" y="74740"/>
                  <a:pt x="170780" y="78342"/>
                  <a:pt x="174551" y="81732"/>
                </a:cubicBezTo>
                <a:cubicBezTo>
                  <a:pt x="176875" y="83913"/>
                  <a:pt x="180448" y="84106"/>
                  <a:pt x="182992" y="82192"/>
                </a:cubicBezTo>
                <a:cubicBezTo>
                  <a:pt x="198339" y="71975"/>
                  <a:pt x="213533" y="61430"/>
                  <a:pt x="232344" y="59719"/>
                </a:cubicBezTo>
                <a:cubicBezTo>
                  <a:pt x="236575" y="59255"/>
                  <a:pt x="239645" y="55444"/>
                  <a:pt x="239184" y="51208"/>
                </a:cubicBezTo>
                <a:cubicBezTo>
                  <a:pt x="239118" y="50772"/>
                  <a:pt x="239053" y="50340"/>
                  <a:pt x="238921" y="49919"/>
                </a:cubicBezTo>
                <a:cubicBezTo>
                  <a:pt x="239404" y="48801"/>
                  <a:pt x="239557" y="47571"/>
                  <a:pt x="239382" y="46367"/>
                </a:cubicBezTo>
                <a:cubicBezTo>
                  <a:pt x="238286" y="37444"/>
                  <a:pt x="237189" y="26087"/>
                  <a:pt x="239996" y="17076"/>
                </a:cubicBezTo>
                <a:cubicBezTo>
                  <a:pt x="245740" y="15805"/>
                  <a:pt x="253852" y="16638"/>
                  <a:pt x="258894" y="16375"/>
                </a:cubicBezTo>
                <a:cubicBezTo>
                  <a:pt x="267358" y="15936"/>
                  <a:pt x="275820" y="15579"/>
                  <a:pt x="284261" y="15300"/>
                </a:cubicBezTo>
                <a:cubicBezTo>
                  <a:pt x="296648" y="13963"/>
                  <a:pt x="299104" y="16068"/>
                  <a:pt x="298644" y="28630"/>
                </a:cubicBezTo>
                <a:cubicBezTo>
                  <a:pt x="299148" y="37269"/>
                  <a:pt x="299587" y="45929"/>
                  <a:pt x="300047" y="54567"/>
                </a:cubicBezTo>
                <a:cubicBezTo>
                  <a:pt x="300025" y="58115"/>
                  <a:pt x="302897" y="61004"/>
                  <a:pt x="306449" y="61020"/>
                </a:cubicBezTo>
                <a:cubicBezTo>
                  <a:pt x="306558" y="61022"/>
                  <a:pt x="306668" y="61017"/>
                  <a:pt x="306778" y="61013"/>
                </a:cubicBezTo>
                <a:cubicBezTo>
                  <a:pt x="323155" y="64446"/>
                  <a:pt x="338262" y="72390"/>
                  <a:pt x="350386" y="83946"/>
                </a:cubicBezTo>
                <a:cubicBezTo>
                  <a:pt x="352403" y="85992"/>
                  <a:pt x="355560" y="86397"/>
                  <a:pt x="358037" y="84933"/>
                </a:cubicBezTo>
                <a:cubicBezTo>
                  <a:pt x="360339" y="85104"/>
                  <a:pt x="362576" y="84014"/>
                  <a:pt x="363847" y="82082"/>
                </a:cubicBezTo>
                <a:cubicBezTo>
                  <a:pt x="367662" y="77018"/>
                  <a:pt x="376257" y="60158"/>
                  <a:pt x="383207" y="59807"/>
                </a:cubicBezTo>
                <a:cubicBezTo>
                  <a:pt x="386583" y="59676"/>
                  <a:pt x="394958" y="66582"/>
                  <a:pt x="397545" y="68336"/>
                </a:cubicBezTo>
                <a:cubicBezTo>
                  <a:pt x="404693" y="73269"/>
                  <a:pt x="411424" y="78792"/>
                  <a:pt x="417650" y="84845"/>
                </a:cubicBezTo>
                <a:cubicBezTo>
                  <a:pt x="422693" y="89800"/>
                  <a:pt x="424381" y="90567"/>
                  <a:pt x="420259" y="96947"/>
                </a:cubicBezTo>
                <a:cubicBezTo>
                  <a:pt x="414647" y="105717"/>
                  <a:pt x="407324" y="113588"/>
                  <a:pt x="400988" y="121744"/>
                </a:cubicBezTo>
                <a:cubicBezTo>
                  <a:pt x="398357" y="124978"/>
                  <a:pt x="398861" y="129727"/>
                  <a:pt x="402084" y="132353"/>
                </a:cubicBezTo>
                <a:cubicBezTo>
                  <a:pt x="402917" y="133037"/>
                  <a:pt x="403904" y="133531"/>
                  <a:pt x="404956" y="133802"/>
                </a:cubicBezTo>
                <a:cubicBezTo>
                  <a:pt x="412980" y="146576"/>
                  <a:pt x="416817" y="161539"/>
                  <a:pt x="415918" y="176599"/>
                </a:cubicBezTo>
                <a:cubicBezTo>
                  <a:pt x="415458" y="179594"/>
                  <a:pt x="417497" y="182398"/>
                  <a:pt x="420501" y="182870"/>
                </a:cubicBezTo>
                <a:cubicBezTo>
                  <a:pt x="421882" y="184446"/>
                  <a:pt x="423899" y="185336"/>
                  <a:pt x="426003" y="185303"/>
                </a:cubicBezTo>
                <a:cubicBezTo>
                  <a:pt x="439772" y="185720"/>
                  <a:pt x="453475" y="185632"/>
                  <a:pt x="467243" y="186005"/>
                </a:cubicBezTo>
                <a:cubicBezTo>
                  <a:pt x="466651" y="186005"/>
                  <a:pt x="467660" y="187649"/>
                  <a:pt x="467770" y="189315"/>
                </a:cubicBezTo>
                <a:cubicBezTo>
                  <a:pt x="468121" y="195498"/>
                  <a:pt x="468537" y="201505"/>
                  <a:pt x="468362" y="207644"/>
                </a:cubicBezTo>
                <a:close/>
                <a:moveTo>
                  <a:pt x="342734" y="248753"/>
                </a:moveTo>
                <a:cubicBezTo>
                  <a:pt x="340673" y="256992"/>
                  <a:pt x="336178" y="264409"/>
                  <a:pt x="329799" y="270020"/>
                </a:cubicBezTo>
                <a:cubicBezTo>
                  <a:pt x="327058" y="273034"/>
                  <a:pt x="327234" y="277691"/>
                  <a:pt x="330215" y="280478"/>
                </a:cubicBezTo>
                <a:cubicBezTo>
                  <a:pt x="333526" y="283438"/>
                  <a:pt x="337757" y="282078"/>
                  <a:pt x="340629" y="279447"/>
                </a:cubicBezTo>
                <a:cubicBezTo>
                  <a:pt x="348851" y="271859"/>
                  <a:pt x="354595" y="261987"/>
                  <a:pt x="357138" y="251099"/>
                </a:cubicBezTo>
                <a:cubicBezTo>
                  <a:pt x="359397" y="241540"/>
                  <a:pt x="344948" y="239632"/>
                  <a:pt x="342712" y="248753"/>
                </a:cubicBezTo>
                <a:close/>
              </a:path>
            </a:pathLst>
          </a:custGeom>
          <a:solidFill>
            <a:schemeClr val="dk1"/>
          </a:solidFill>
          <a:ln>
            <a:solidFill>
              <a:srgbClr val="00B0F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pic>
        <p:nvPicPr>
          <p:cNvPr id="591" name="Picture 4" descr="Campanha da Fraternidade 2022"/>
          <p:cNvPicPr/>
          <p:nvPr/>
        </p:nvPicPr>
        <p:blipFill>
          <a:blip r:embed="rId2"/>
          <a:stretch/>
        </p:blipFill>
        <p:spPr>
          <a:xfrm rot="761789">
            <a:off x="961230" y="770655"/>
            <a:ext cx="957900" cy="87459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Ph1HM0qHY0IqbRqK4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7F8B91"/>
      </a:dk2>
      <a:lt2>
        <a:srgbClr val="EDF0EB"/>
      </a:lt2>
      <a:accent1>
        <a:srgbClr val="AEE25A"/>
      </a:accent1>
      <a:accent2>
        <a:srgbClr val="51C026"/>
      </a:accent2>
      <a:accent3>
        <a:srgbClr val="5DDBA7"/>
      </a:accent3>
      <a:accent4>
        <a:srgbClr val="29AFA2"/>
      </a:accent4>
      <a:accent5>
        <a:srgbClr val="809DC2"/>
      </a:accent5>
      <a:accent6>
        <a:srgbClr val="596885"/>
      </a:accent6>
      <a:hlink>
        <a:srgbClr val="52AC00"/>
      </a:hlink>
      <a:folHlink>
        <a:srgbClr val="6611CC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7F8B91"/>
      </a:dk2>
      <a:lt2>
        <a:srgbClr val="EDF0EB"/>
      </a:lt2>
      <a:accent1>
        <a:srgbClr val="AEE25A"/>
      </a:accent1>
      <a:accent2>
        <a:srgbClr val="51C026"/>
      </a:accent2>
      <a:accent3>
        <a:srgbClr val="5DDBA7"/>
      </a:accent3>
      <a:accent4>
        <a:srgbClr val="29AFA2"/>
      </a:accent4>
      <a:accent5>
        <a:srgbClr val="809DC2"/>
      </a:accent5>
      <a:accent6>
        <a:srgbClr val="596885"/>
      </a:accent6>
      <a:hlink>
        <a:srgbClr val="52AC00"/>
      </a:hlink>
      <a:folHlink>
        <a:srgbClr val="6611CC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7F8B91"/>
      </a:dk2>
      <a:lt2>
        <a:srgbClr val="EDF0EB"/>
      </a:lt2>
      <a:accent1>
        <a:srgbClr val="AEE25A"/>
      </a:accent1>
      <a:accent2>
        <a:srgbClr val="51C026"/>
      </a:accent2>
      <a:accent3>
        <a:srgbClr val="5DDBA7"/>
      </a:accent3>
      <a:accent4>
        <a:srgbClr val="29AFA2"/>
      </a:accent4>
      <a:accent5>
        <a:srgbClr val="809DC2"/>
      </a:accent5>
      <a:accent6>
        <a:srgbClr val="596885"/>
      </a:accent6>
      <a:hlink>
        <a:srgbClr val="52AC00"/>
      </a:hlink>
      <a:folHlink>
        <a:srgbClr val="6611CC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7F8B91"/>
      </a:dk2>
      <a:lt2>
        <a:srgbClr val="EDF0EB"/>
      </a:lt2>
      <a:accent1>
        <a:srgbClr val="AEE25A"/>
      </a:accent1>
      <a:accent2>
        <a:srgbClr val="51C026"/>
      </a:accent2>
      <a:accent3>
        <a:srgbClr val="5DDBA7"/>
      </a:accent3>
      <a:accent4>
        <a:srgbClr val="29AFA2"/>
      </a:accent4>
      <a:accent5>
        <a:srgbClr val="809DC2"/>
      </a:accent5>
      <a:accent6>
        <a:srgbClr val="596885"/>
      </a:accent6>
      <a:hlink>
        <a:srgbClr val="52AC00"/>
      </a:hlink>
      <a:folHlink>
        <a:srgbClr val="6611CC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7F8B91"/>
      </a:dk2>
      <a:lt2>
        <a:srgbClr val="EDF0EB"/>
      </a:lt2>
      <a:accent1>
        <a:srgbClr val="AEE25A"/>
      </a:accent1>
      <a:accent2>
        <a:srgbClr val="51C026"/>
      </a:accent2>
      <a:accent3>
        <a:srgbClr val="5DDBA7"/>
      </a:accent3>
      <a:accent4>
        <a:srgbClr val="29AFA2"/>
      </a:accent4>
      <a:accent5>
        <a:srgbClr val="809DC2"/>
      </a:accent5>
      <a:accent6>
        <a:srgbClr val="596885"/>
      </a:accent6>
      <a:hlink>
        <a:srgbClr val="52AC00"/>
      </a:hlink>
      <a:folHlink>
        <a:srgbClr val="6611CC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7F8B91"/>
      </a:dk2>
      <a:lt2>
        <a:srgbClr val="EDF0EB"/>
      </a:lt2>
      <a:accent1>
        <a:srgbClr val="AEE25A"/>
      </a:accent1>
      <a:accent2>
        <a:srgbClr val="51C026"/>
      </a:accent2>
      <a:accent3>
        <a:srgbClr val="5DDBA7"/>
      </a:accent3>
      <a:accent4>
        <a:srgbClr val="29AFA2"/>
      </a:accent4>
      <a:accent5>
        <a:srgbClr val="809DC2"/>
      </a:accent5>
      <a:accent6>
        <a:srgbClr val="596885"/>
      </a:accent6>
      <a:hlink>
        <a:srgbClr val="52AC00"/>
      </a:hlink>
      <a:folHlink>
        <a:srgbClr val="6611CC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7F8B91"/>
      </a:dk2>
      <a:lt2>
        <a:srgbClr val="EDF0EB"/>
      </a:lt2>
      <a:accent1>
        <a:srgbClr val="AEE25A"/>
      </a:accent1>
      <a:accent2>
        <a:srgbClr val="51C026"/>
      </a:accent2>
      <a:accent3>
        <a:srgbClr val="5DDBA7"/>
      </a:accent3>
      <a:accent4>
        <a:srgbClr val="29AFA2"/>
      </a:accent4>
      <a:accent5>
        <a:srgbClr val="809DC2"/>
      </a:accent5>
      <a:accent6>
        <a:srgbClr val="596885"/>
      </a:accent6>
      <a:hlink>
        <a:srgbClr val="52AC00"/>
      </a:hlink>
      <a:folHlink>
        <a:srgbClr val="6611CC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7F8B91"/>
      </a:dk2>
      <a:lt2>
        <a:srgbClr val="EDF0EB"/>
      </a:lt2>
      <a:accent1>
        <a:srgbClr val="AEE25A"/>
      </a:accent1>
      <a:accent2>
        <a:srgbClr val="51C026"/>
      </a:accent2>
      <a:accent3>
        <a:srgbClr val="5DDBA7"/>
      </a:accent3>
      <a:accent4>
        <a:srgbClr val="29AFA2"/>
      </a:accent4>
      <a:accent5>
        <a:srgbClr val="809DC2"/>
      </a:accent5>
      <a:accent6>
        <a:srgbClr val="596885"/>
      </a:accent6>
      <a:hlink>
        <a:srgbClr val="52AC00"/>
      </a:hlink>
      <a:folHlink>
        <a:srgbClr val="6611CC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7F8B91"/>
      </a:dk2>
      <a:lt2>
        <a:srgbClr val="EDF0EB"/>
      </a:lt2>
      <a:accent1>
        <a:srgbClr val="AEE25A"/>
      </a:accent1>
      <a:accent2>
        <a:srgbClr val="51C026"/>
      </a:accent2>
      <a:accent3>
        <a:srgbClr val="5DDBA7"/>
      </a:accent3>
      <a:accent4>
        <a:srgbClr val="29AFA2"/>
      </a:accent4>
      <a:accent5>
        <a:srgbClr val="809DC2"/>
      </a:accent5>
      <a:accent6>
        <a:srgbClr val="596885"/>
      </a:accent6>
      <a:hlink>
        <a:srgbClr val="52AC00"/>
      </a:hlink>
      <a:folHlink>
        <a:srgbClr val="6611CC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7F8B91"/>
      </a:dk2>
      <a:lt2>
        <a:srgbClr val="EDF0EB"/>
      </a:lt2>
      <a:accent1>
        <a:srgbClr val="AEE25A"/>
      </a:accent1>
      <a:accent2>
        <a:srgbClr val="51C026"/>
      </a:accent2>
      <a:accent3>
        <a:srgbClr val="5DDBA7"/>
      </a:accent3>
      <a:accent4>
        <a:srgbClr val="29AFA2"/>
      </a:accent4>
      <a:accent5>
        <a:srgbClr val="809DC2"/>
      </a:accent5>
      <a:accent6>
        <a:srgbClr val="596885"/>
      </a:accent6>
      <a:hlink>
        <a:srgbClr val="52AC00"/>
      </a:hlink>
      <a:folHlink>
        <a:srgbClr val="6611CC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7F8B91"/>
      </a:dk2>
      <a:lt2>
        <a:srgbClr val="EDF0EB"/>
      </a:lt2>
      <a:accent1>
        <a:srgbClr val="AEE25A"/>
      </a:accent1>
      <a:accent2>
        <a:srgbClr val="51C026"/>
      </a:accent2>
      <a:accent3>
        <a:srgbClr val="5DDBA7"/>
      </a:accent3>
      <a:accent4>
        <a:srgbClr val="29AFA2"/>
      </a:accent4>
      <a:accent5>
        <a:srgbClr val="809DC2"/>
      </a:accent5>
      <a:accent6>
        <a:srgbClr val="596885"/>
      </a:accent6>
      <a:hlink>
        <a:srgbClr val="52AC00"/>
      </a:hlink>
      <a:folHlink>
        <a:srgbClr val="6611CC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7F8B91"/>
      </a:dk2>
      <a:lt2>
        <a:srgbClr val="EDF0EB"/>
      </a:lt2>
      <a:accent1>
        <a:srgbClr val="AEE25A"/>
      </a:accent1>
      <a:accent2>
        <a:srgbClr val="51C026"/>
      </a:accent2>
      <a:accent3>
        <a:srgbClr val="5DDBA7"/>
      </a:accent3>
      <a:accent4>
        <a:srgbClr val="29AFA2"/>
      </a:accent4>
      <a:accent5>
        <a:srgbClr val="809DC2"/>
      </a:accent5>
      <a:accent6>
        <a:srgbClr val="596885"/>
      </a:accent6>
      <a:hlink>
        <a:srgbClr val="52AC00"/>
      </a:hlink>
      <a:folHlink>
        <a:srgbClr val="6611CC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5</TotalTime>
  <Words>1350</Words>
  <Application>Microsoft Office PowerPoint</Application>
  <PresentationFormat>Apresentação na tela (16:9)</PresentationFormat>
  <Paragraphs>193</Paragraphs>
  <Slides>54</Slides>
  <Notes>5</Notes>
  <HiddenSlides>0</HiddenSlides>
  <MMClips>0</MMClips>
  <ScaleCrop>false</ScaleCrop>
  <HeadingPairs>
    <vt:vector size="6" baseType="variant">
      <vt:variant>
        <vt:lpstr>Fontes usadas</vt:lpstr>
      </vt:variant>
      <vt:variant>
        <vt:i4>14</vt:i4>
      </vt:variant>
      <vt:variant>
        <vt:lpstr>Tema</vt:lpstr>
      </vt:variant>
      <vt:variant>
        <vt:i4>11</vt:i4>
      </vt:variant>
      <vt:variant>
        <vt:lpstr>Títulos de slides</vt:lpstr>
      </vt:variant>
      <vt:variant>
        <vt:i4>54</vt:i4>
      </vt:variant>
    </vt:vector>
  </HeadingPairs>
  <TitlesOfParts>
    <vt:vector size="79" baseType="lpstr">
      <vt:lpstr>Amasis MT Pro Black</vt:lpstr>
      <vt:lpstr>Amatic SC</vt:lpstr>
      <vt:lpstr>Arial</vt:lpstr>
      <vt:lpstr>Century Gothic</vt:lpstr>
      <vt:lpstr>Comic Sans MS</vt:lpstr>
      <vt:lpstr>Montserrat</vt:lpstr>
      <vt:lpstr>Nino</vt:lpstr>
      <vt:lpstr>Nunito</vt:lpstr>
      <vt:lpstr>Nunito SemiBold</vt:lpstr>
      <vt:lpstr>Palatino Linotype</vt:lpstr>
      <vt:lpstr>Palotino</vt:lpstr>
      <vt:lpstr>Symbol</vt:lpstr>
      <vt:lpstr>Times New Roman</vt:lpstr>
      <vt:lpstr>Wingdings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raternidade e educação</dc:title>
  <dc:subject/>
  <dc:creator>Pe. Patriky Samuel</dc:creator>
  <dc:description/>
  <cp:lastModifiedBy>Toninho Evangelista</cp:lastModifiedBy>
  <cp:revision>20</cp:revision>
  <cp:lastPrinted>2021-08-28T11:18:49Z</cp:lastPrinted>
  <dcterms:modified xsi:type="dcterms:W3CDTF">2021-11-18T12:56:02Z</dcterms:modified>
  <dc:language>pt-BR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6.0000</vt:lpwstr>
  </property>
  <property fmtid="{D5CDD505-2E9C-101B-9397-08002B2CF9AE}" pid="3" name="HiddenSlides">
    <vt:i4>0</vt:i4>
  </property>
  <property fmtid="{D5CDD505-2E9C-101B-9397-08002B2CF9AE}" pid="4" name="HyperlinksChanged">
    <vt:bool>false</vt:bool>
  </property>
  <property fmtid="{D5CDD505-2E9C-101B-9397-08002B2CF9AE}" pid="5" name="LinksUpToDate">
    <vt:bool>false</vt:bool>
  </property>
  <property fmtid="{D5CDD505-2E9C-101B-9397-08002B2CF9AE}" pid="6" name="MMClips">
    <vt:i4>0</vt:i4>
  </property>
  <property fmtid="{D5CDD505-2E9C-101B-9397-08002B2CF9AE}" pid="7" name="Notes">
    <vt:i4>37</vt:i4>
  </property>
  <property fmtid="{D5CDD505-2E9C-101B-9397-08002B2CF9AE}" pid="8" name="PresentationFormat">
    <vt:lpwstr>Apresentação na tela (16:9)</vt:lpwstr>
  </property>
  <property fmtid="{D5CDD505-2E9C-101B-9397-08002B2CF9AE}" pid="9" name="ScaleCrop">
    <vt:bool>false</vt:bool>
  </property>
  <property fmtid="{D5CDD505-2E9C-101B-9397-08002B2CF9AE}" pid="10" name="ShareDoc">
    <vt:bool>false</vt:bool>
  </property>
  <property fmtid="{D5CDD505-2E9C-101B-9397-08002B2CF9AE}" pid="11" name="Slides">
    <vt:i4>99</vt:i4>
  </property>
</Properties>
</file>